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19"/>
  </p:notesMasterIdLst>
  <p:handoutMasterIdLst>
    <p:handoutMasterId r:id="rId20"/>
  </p:handoutMasterIdLst>
  <p:sldIdLst>
    <p:sldId id="603" r:id="rId8"/>
    <p:sldId id="616" r:id="rId9"/>
    <p:sldId id="623" r:id="rId10"/>
    <p:sldId id="635" r:id="rId11"/>
    <p:sldId id="629" r:id="rId12"/>
    <p:sldId id="631" r:id="rId13"/>
    <p:sldId id="630" r:id="rId14"/>
    <p:sldId id="632" r:id="rId15"/>
    <p:sldId id="634" r:id="rId16"/>
    <p:sldId id="628" r:id="rId17"/>
    <p:sldId id="61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5932" autoAdjust="0"/>
  </p:normalViewPr>
  <p:slideViewPr>
    <p:cSldViewPr showGuides="1">
      <p:cViewPr varScale="1">
        <p:scale>
          <a:sx n="37" d="100"/>
          <a:sy n="37" d="100"/>
        </p:scale>
        <p:origin x="24" y="16"/>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75" d="100"/>
          <a:sy n="75" d="100"/>
        </p:scale>
        <p:origin x="102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thineedi, Shasi Kiranmai" userId="fd83c4d6-c3dc-4f82-acc3-371ba73f1a60" providerId="ADAL" clId="{86E644F5-C5C5-44C5-AC53-9C786D080528}"/>
    <pc:docChg chg="undo custSel addSld delSld modSld delSection modSection">
      <pc:chgData name="Bethineedi, Shasi Kiranmai" userId="fd83c4d6-c3dc-4f82-acc3-371ba73f1a60" providerId="ADAL" clId="{86E644F5-C5C5-44C5-AC53-9C786D080528}" dt="2023-03-03T06:36:06.485" v="2596" actId="1076"/>
      <pc:docMkLst>
        <pc:docMk/>
      </pc:docMkLst>
      <pc:sldChg chg="del">
        <pc:chgData name="Bethineedi, Shasi Kiranmai" userId="fd83c4d6-c3dc-4f82-acc3-371ba73f1a60" providerId="ADAL" clId="{86E644F5-C5C5-44C5-AC53-9C786D080528}" dt="2023-02-28T15:40:09.819" v="591" actId="2696"/>
        <pc:sldMkLst>
          <pc:docMk/>
          <pc:sldMk cId="2287508203" sldId="347"/>
        </pc:sldMkLst>
      </pc:sldChg>
      <pc:sldChg chg="del">
        <pc:chgData name="Bethineedi, Shasi Kiranmai" userId="fd83c4d6-c3dc-4f82-acc3-371ba73f1a60" providerId="ADAL" clId="{86E644F5-C5C5-44C5-AC53-9C786D080528}" dt="2023-02-28T15:39:22.760" v="586" actId="2696"/>
        <pc:sldMkLst>
          <pc:docMk/>
          <pc:sldMk cId="1827110123" sldId="425"/>
        </pc:sldMkLst>
      </pc:sldChg>
      <pc:sldChg chg="del">
        <pc:chgData name="Bethineedi, Shasi Kiranmai" userId="fd83c4d6-c3dc-4f82-acc3-371ba73f1a60" providerId="ADAL" clId="{86E644F5-C5C5-44C5-AC53-9C786D080528}" dt="2023-02-28T15:40:15.824" v="592" actId="2696"/>
        <pc:sldMkLst>
          <pc:docMk/>
          <pc:sldMk cId="581276293" sldId="429"/>
        </pc:sldMkLst>
      </pc:sldChg>
      <pc:sldChg chg="del">
        <pc:chgData name="Bethineedi, Shasi Kiranmai" userId="fd83c4d6-c3dc-4f82-acc3-371ba73f1a60" providerId="ADAL" clId="{86E644F5-C5C5-44C5-AC53-9C786D080528}" dt="2023-02-28T15:37:22.061" v="583" actId="2696"/>
        <pc:sldMkLst>
          <pc:docMk/>
          <pc:sldMk cId="3986561876" sldId="558"/>
        </pc:sldMkLst>
      </pc:sldChg>
      <pc:sldChg chg="del">
        <pc:chgData name="Bethineedi, Shasi Kiranmai" userId="fd83c4d6-c3dc-4f82-acc3-371ba73f1a60" providerId="ADAL" clId="{86E644F5-C5C5-44C5-AC53-9C786D080528}" dt="2023-02-28T15:37:15.431" v="582" actId="2696"/>
        <pc:sldMkLst>
          <pc:docMk/>
          <pc:sldMk cId="2874168093" sldId="585"/>
        </pc:sldMkLst>
      </pc:sldChg>
      <pc:sldChg chg="del">
        <pc:chgData name="Bethineedi, Shasi Kiranmai" userId="fd83c4d6-c3dc-4f82-acc3-371ba73f1a60" providerId="ADAL" clId="{86E644F5-C5C5-44C5-AC53-9C786D080528}" dt="2023-02-28T15:40:00.582" v="590" actId="2696"/>
        <pc:sldMkLst>
          <pc:docMk/>
          <pc:sldMk cId="1075118450" sldId="589"/>
        </pc:sldMkLst>
      </pc:sldChg>
      <pc:sldChg chg="del">
        <pc:chgData name="Bethineedi, Shasi Kiranmai" userId="fd83c4d6-c3dc-4f82-acc3-371ba73f1a60" providerId="ADAL" clId="{86E644F5-C5C5-44C5-AC53-9C786D080528}" dt="2023-02-28T15:39:45.876" v="589" actId="2696"/>
        <pc:sldMkLst>
          <pc:docMk/>
          <pc:sldMk cId="4276514296" sldId="590"/>
        </pc:sldMkLst>
      </pc:sldChg>
      <pc:sldChg chg="del">
        <pc:chgData name="Bethineedi, Shasi Kiranmai" userId="fd83c4d6-c3dc-4f82-acc3-371ba73f1a60" providerId="ADAL" clId="{86E644F5-C5C5-44C5-AC53-9C786D080528}" dt="2023-02-28T15:39:44.030" v="588" actId="2696"/>
        <pc:sldMkLst>
          <pc:docMk/>
          <pc:sldMk cId="1879674313" sldId="591"/>
        </pc:sldMkLst>
      </pc:sldChg>
      <pc:sldChg chg="add del">
        <pc:chgData name="Bethineedi, Shasi Kiranmai" userId="fd83c4d6-c3dc-4f82-acc3-371ba73f1a60" providerId="ADAL" clId="{86E644F5-C5C5-44C5-AC53-9C786D080528}" dt="2023-03-02T05:35:18.369" v="990" actId="2696"/>
        <pc:sldMkLst>
          <pc:docMk/>
          <pc:sldMk cId="1320472234" sldId="593"/>
        </pc:sldMkLst>
      </pc:sldChg>
      <pc:sldChg chg="del">
        <pc:chgData name="Bethineedi, Shasi Kiranmai" userId="fd83c4d6-c3dc-4f82-acc3-371ba73f1a60" providerId="ADAL" clId="{86E644F5-C5C5-44C5-AC53-9C786D080528}" dt="2023-02-28T15:37:25.778" v="584" actId="2696"/>
        <pc:sldMkLst>
          <pc:docMk/>
          <pc:sldMk cId="2406543390" sldId="594"/>
        </pc:sldMkLst>
      </pc:sldChg>
      <pc:sldChg chg="del">
        <pc:chgData name="Bethineedi, Shasi Kiranmai" userId="fd83c4d6-c3dc-4f82-acc3-371ba73f1a60" providerId="ADAL" clId="{86E644F5-C5C5-44C5-AC53-9C786D080528}" dt="2023-02-28T10:00:46.212" v="271" actId="2696"/>
        <pc:sldMkLst>
          <pc:docMk/>
          <pc:sldMk cId="1018828322" sldId="600"/>
        </pc:sldMkLst>
      </pc:sldChg>
      <pc:sldChg chg="modSp mod">
        <pc:chgData name="Bethineedi, Shasi Kiranmai" userId="fd83c4d6-c3dc-4f82-acc3-371ba73f1a60" providerId="ADAL" clId="{86E644F5-C5C5-44C5-AC53-9C786D080528}" dt="2023-03-02T15:25:48.930" v="1750" actId="20577"/>
        <pc:sldMkLst>
          <pc:docMk/>
          <pc:sldMk cId="834419491" sldId="603"/>
        </pc:sldMkLst>
        <pc:spChg chg="mod">
          <ac:chgData name="Bethineedi, Shasi Kiranmai" userId="fd83c4d6-c3dc-4f82-acc3-371ba73f1a60" providerId="ADAL" clId="{86E644F5-C5C5-44C5-AC53-9C786D080528}" dt="2023-02-28T10:09:06.387" v="393" actId="20577"/>
          <ac:spMkLst>
            <pc:docMk/>
            <pc:sldMk cId="834419491" sldId="603"/>
            <ac:spMk id="2" creationId="{037692A0-4BAB-471C-89D5-57C9ED0D5AC3}"/>
          </ac:spMkLst>
        </pc:spChg>
        <pc:spChg chg="mod">
          <ac:chgData name="Bethineedi, Shasi Kiranmai" userId="fd83c4d6-c3dc-4f82-acc3-371ba73f1a60" providerId="ADAL" clId="{86E644F5-C5C5-44C5-AC53-9C786D080528}" dt="2023-03-02T15:25:48.930" v="1750" actId="20577"/>
          <ac:spMkLst>
            <pc:docMk/>
            <pc:sldMk cId="834419491" sldId="603"/>
            <ac:spMk id="3" creationId="{1FCCB941-9A55-4FD8-A71B-74F653F5E2DF}"/>
          </ac:spMkLst>
        </pc:spChg>
      </pc:sldChg>
      <pc:sldChg chg="delSp modSp del mod">
        <pc:chgData name="Bethineedi, Shasi Kiranmai" userId="fd83c4d6-c3dc-4f82-acc3-371ba73f1a60" providerId="ADAL" clId="{86E644F5-C5C5-44C5-AC53-9C786D080528}" dt="2023-02-28T10:01:18.714" v="277" actId="2696"/>
        <pc:sldMkLst>
          <pc:docMk/>
          <pc:sldMk cId="4227977419" sldId="604"/>
        </pc:sldMkLst>
        <pc:spChg chg="mod">
          <ac:chgData name="Bethineedi, Shasi Kiranmai" userId="fd83c4d6-c3dc-4f82-acc3-371ba73f1a60" providerId="ADAL" clId="{86E644F5-C5C5-44C5-AC53-9C786D080528}" dt="2023-02-28T10:00:54.590" v="272" actId="21"/>
          <ac:spMkLst>
            <pc:docMk/>
            <pc:sldMk cId="4227977419" sldId="604"/>
            <ac:spMk id="2" creationId="{CF8BD3DB-4BF1-4F80-94D2-65F59B08E893}"/>
          </ac:spMkLst>
        </pc:spChg>
        <pc:spChg chg="del mod">
          <ac:chgData name="Bethineedi, Shasi Kiranmai" userId="fd83c4d6-c3dc-4f82-acc3-371ba73f1a60" providerId="ADAL" clId="{86E644F5-C5C5-44C5-AC53-9C786D080528}" dt="2023-02-28T10:00:40.483" v="270" actId="21"/>
          <ac:spMkLst>
            <pc:docMk/>
            <pc:sldMk cId="4227977419" sldId="604"/>
            <ac:spMk id="3" creationId="{E0C8374D-B438-41D4-9F51-290E5734D518}"/>
          </ac:spMkLst>
        </pc:spChg>
      </pc:sldChg>
      <pc:sldChg chg="addSp delSp modSp del mod modClrScheme chgLayout">
        <pc:chgData name="Bethineedi, Shasi Kiranmai" userId="fd83c4d6-c3dc-4f82-acc3-371ba73f1a60" providerId="ADAL" clId="{86E644F5-C5C5-44C5-AC53-9C786D080528}" dt="2023-03-02T05:34:57.954" v="989" actId="2696"/>
        <pc:sldMkLst>
          <pc:docMk/>
          <pc:sldMk cId="2548862354" sldId="606"/>
        </pc:sldMkLst>
        <pc:spChg chg="mod">
          <ac:chgData name="Bethineedi, Shasi Kiranmai" userId="fd83c4d6-c3dc-4f82-acc3-371ba73f1a60" providerId="ADAL" clId="{86E644F5-C5C5-44C5-AC53-9C786D080528}" dt="2023-02-28T10:09:35.308" v="394" actId="26606"/>
          <ac:spMkLst>
            <pc:docMk/>
            <pc:sldMk cId="2548862354" sldId="606"/>
            <ac:spMk id="2" creationId="{A59B8AB6-761F-4B5C-8F39-BB4B2759B4A9}"/>
          </ac:spMkLst>
        </pc:spChg>
        <pc:spChg chg="del">
          <ac:chgData name="Bethineedi, Shasi Kiranmai" userId="fd83c4d6-c3dc-4f82-acc3-371ba73f1a60" providerId="ADAL" clId="{86E644F5-C5C5-44C5-AC53-9C786D080528}" dt="2023-02-28T10:01:06.713" v="275" actId="21"/>
          <ac:spMkLst>
            <pc:docMk/>
            <pc:sldMk cId="2548862354" sldId="606"/>
            <ac:spMk id="3" creationId="{0E49919F-CB7D-45C6-90C6-9D13AF3CA084}"/>
          </ac:spMkLst>
        </pc:spChg>
        <pc:spChg chg="add del mod">
          <ac:chgData name="Bethineedi, Shasi Kiranmai" userId="fd83c4d6-c3dc-4f82-acc3-371ba73f1a60" providerId="ADAL" clId="{86E644F5-C5C5-44C5-AC53-9C786D080528}" dt="2023-02-28T10:01:10.968" v="276" actId="21"/>
          <ac:spMkLst>
            <pc:docMk/>
            <pc:sldMk cId="2548862354" sldId="606"/>
            <ac:spMk id="5" creationId="{239D86F4-F759-C8BF-CF04-61AFDD07C04F}"/>
          </ac:spMkLst>
        </pc:spChg>
        <pc:spChg chg="add del mod">
          <ac:chgData name="Bethineedi, Shasi Kiranmai" userId="fd83c4d6-c3dc-4f82-acc3-371ba73f1a60" providerId="ADAL" clId="{86E644F5-C5C5-44C5-AC53-9C786D080528}" dt="2023-02-28T10:09:40.835" v="395" actId="21"/>
          <ac:spMkLst>
            <pc:docMk/>
            <pc:sldMk cId="2548862354" sldId="606"/>
            <ac:spMk id="7" creationId="{1A6F1F01-3FDF-7AF1-7C9A-D11ECF28CF29}"/>
          </ac:spMkLst>
        </pc:spChg>
      </pc:sldChg>
      <pc:sldChg chg="del">
        <pc:chgData name="Bethineedi, Shasi Kiranmai" userId="fd83c4d6-c3dc-4f82-acc3-371ba73f1a60" providerId="ADAL" clId="{86E644F5-C5C5-44C5-AC53-9C786D080528}" dt="2023-02-28T10:01:22.745" v="278" actId="2696"/>
        <pc:sldMkLst>
          <pc:docMk/>
          <pc:sldMk cId="340409438" sldId="609"/>
        </pc:sldMkLst>
      </pc:sldChg>
      <pc:sldChg chg="del">
        <pc:chgData name="Bethineedi, Shasi Kiranmai" userId="fd83c4d6-c3dc-4f82-acc3-371ba73f1a60" providerId="ADAL" clId="{86E644F5-C5C5-44C5-AC53-9C786D080528}" dt="2023-02-28T15:37:30.742" v="585" actId="2696"/>
        <pc:sldMkLst>
          <pc:docMk/>
          <pc:sldMk cId="882824473" sldId="610"/>
        </pc:sldMkLst>
      </pc:sldChg>
      <pc:sldChg chg="addSp delSp modSp del mod">
        <pc:chgData name="Bethineedi, Shasi Kiranmai" userId="fd83c4d6-c3dc-4f82-acc3-371ba73f1a60" providerId="ADAL" clId="{86E644F5-C5C5-44C5-AC53-9C786D080528}" dt="2023-02-28T15:40:21.639" v="593" actId="2696"/>
        <pc:sldMkLst>
          <pc:docMk/>
          <pc:sldMk cId="2769397531" sldId="615"/>
        </pc:sldMkLst>
        <pc:spChg chg="mod">
          <ac:chgData name="Bethineedi, Shasi Kiranmai" userId="fd83c4d6-c3dc-4f82-acc3-371ba73f1a60" providerId="ADAL" clId="{86E644F5-C5C5-44C5-AC53-9C786D080528}" dt="2023-02-28T15:33:13.127" v="510" actId="20577"/>
          <ac:spMkLst>
            <pc:docMk/>
            <pc:sldMk cId="2769397531" sldId="615"/>
            <ac:spMk id="2" creationId="{508827A6-C591-4F5D-8338-3807F6943300}"/>
          </ac:spMkLst>
        </pc:spChg>
        <pc:spChg chg="mod">
          <ac:chgData name="Bethineedi, Shasi Kiranmai" userId="fd83c4d6-c3dc-4f82-acc3-371ba73f1a60" providerId="ADAL" clId="{86E644F5-C5C5-44C5-AC53-9C786D080528}" dt="2023-02-28T15:33:13.159" v="511" actId="14100"/>
          <ac:spMkLst>
            <pc:docMk/>
            <pc:sldMk cId="2769397531" sldId="615"/>
            <ac:spMk id="3" creationId="{2151FFB6-DDC6-4E93-8AE9-EFC28010B8E0}"/>
          </ac:spMkLst>
        </pc:spChg>
        <pc:spChg chg="add del">
          <ac:chgData name="Bethineedi, Shasi Kiranmai" userId="fd83c4d6-c3dc-4f82-acc3-371ba73f1a60" providerId="ADAL" clId="{86E644F5-C5C5-44C5-AC53-9C786D080528}" dt="2023-02-28T15:33:13.283" v="515" actId="21"/>
          <ac:spMkLst>
            <pc:docMk/>
            <pc:sldMk cId="2769397531" sldId="615"/>
            <ac:spMk id="4" creationId="{8024D6E4-DE08-4695-82B9-0E90553D8CC0}"/>
          </ac:spMkLst>
        </pc:spChg>
        <pc:spChg chg="mod">
          <ac:chgData name="Bethineedi, Shasi Kiranmai" userId="fd83c4d6-c3dc-4f82-acc3-371ba73f1a60" providerId="ADAL" clId="{86E644F5-C5C5-44C5-AC53-9C786D080528}" dt="2023-02-28T15:33:13.001" v="506" actId="20577"/>
          <ac:spMkLst>
            <pc:docMk/>
            <pc:sldMk cId="2769397531" sldId="615"/>
            <ac:spMk id="5" creationId="{6E6055CC-0678-44DF-A525-70971C533171}"/>
          </ac:spMkLst>
        </pc:spChg>
        <pc:spChg chg="add del">
          <ac:chgData name="Bethineedi, Shasi Kiranmai" userId="fd83c4d6-c3dc-4f82-acc3-371ba73f1a60" providerId="ADAL" clId="{86E644F5-C5C5-44C5-AC53-9C786D080528}" dt="2023-02-28T15:33:13.235" v="513" actId="21"/>
          <ac:spMkLst>
            <pc:docMk/>
            <pc:sldMk cId="2769397531" sldId="615"/>
            <ac:spMk id="6" creationId="{CD42D618-189C-4ACB-A84B-2ECB4CBDA496}"/>
          </ac:spMkLst>
        </pc:spChg>
        <pc:spChg chg="add del mod">
          <ac:chgData name="Bethineedi, Shasi Kiranmai" userId="fd83c4d6-c3dc-4f82-acc3-371ba73f1a60" providerId="ADAL" clId="{86E644F5-C5C5-44C5-AC53-9C786D080528}" dt="2023-02-28T15:33:13.283" v="515" actId="21"/>
          <ac:spMkLst>
            <pc:docMk/>
            <pc:sldMk cId="2769397531" sldId="615"/>
            <ac:spMk id="8" creationId="{349DDC99-C0C4-939A-B97A-7321C9BBD928}"/>
          </ac:spMkLst>
        </pc:spChg>
        <pc:spChg chg="add del mod">
          <ac:chgData name="Bethineedi, Shasi Kiranmai" userId="fd83c4d6-c3dc-4f82-acc3-371ba73f1a60" providerId="ADAL" clId="{86E644F5-C5C5-44C5-AC53-9C786D080528}" dt="2023-02-28T15:33:13.235" v="513" actId="21"/>
          <ac:spMkLst>
            <pc:docMk/>
            <pc:sldMk cId="2769397531" sldId="615"/>
            <ac:spMk id="10" creationId="{55B7B4CF-1756-18EB-6B8E-53ECF3E03FE9}"/>
          </ac:spMkLst>
        </pc:spChg>
      </pc:sldChg>
      <pc:sldChg chg="addSp delSp modSp mod modClrScheme chgLayout">
        <pc:chgData name="Bethineedi, Shasi Kiranmai" userId="fd83c4d6-c3dc-4f82-acc3-371ba73f1a60" providerId="ADAL" clId="{86E644F5-C5C5-44C5-AC53-9C786D080528}" dt="2023-03-03T05:47:36.431" v="2444" actId="20577"/>
        <pc:sldMkLst>
          <pc:docMk/>
          <pc:sldMk cId="1453149592" sldId="616"/>
        </pc:sldMkLst>
        <pc:spChg chg="mod">
          <ac:chgData name="Bethineedi, Shasi Kiranmai" userId="fd83c4d6-c3dc-4f82-acc3-371ba73f1a60" providerId="ADAL" clId="{86E644F5-C5C5-44C5-AC53-9C786D080528}" dt="2023-02-28T15:33:37.919" v="544" actId="20577"/>
          <ac:spMkLst>
            <pc:docMk/>
            <pc:sldMk cId="1453149592" sldId="616"/>
            <ac:spMk id="2" creationId="{64F64BD2-7E09-45E2-95C0-B3726BD6234A}"/>
          </ac:spMkLst>
        </pc:spChg>
        <pc:spChg chg="del mod">
          <ac:chgData name="Bethineedi, Shasi Kiranmai" userId="fd83c4d6-c3dc-4f82-acc3-371ba73f1a60" providerId="ADAL" clId="{86E644F5-C5C5-44C5-AC53-9C786D080528}" dt="2023-02-28T10:06:54.174" v="371" actId="26606"/>
          <ac:spMkLst>
            <pc:docMk/>
            <pc:sldMk cId="1453149592" sldId="616"/>
            <ac:spMk id="3" creationId="{050F306C-8A8D-4521-BDDC-9D1F1C3E2C7F}"/>
          </ac:spMkLst>
        </pc:spChg>
        <pc:spChg chg="add del mod">
          <ac:chgData name="Bethineedi, Shasi Kiranmai" userId="fd83c4d6-c3dc-4f82-acc3-371ba73f1a60" providerId="ADAL" clId="{86E644F5-C5C5-44C5-AC53-9C786D080528}" dt="2023-02-28T10:07:02.496" v="372" actId="21"/>
          <ac:spMkLst>
            <pc:docMk/>
            <pc:sldMk cId="1453149592" sldId="616"/>
            <ac:spMk id="9" creationId="{F0C6CF28-D47C-3C46-CB48-7700FD2E6567}"/>
          </ac:spMkLst>
        </pc:spChg>
        <pc:graphicFrameChg chg="add mod">
          <ac:chgData name="Bethineedi, Shasi Kiranmai" userId="fd83c4d6-c3dc-4f82-acc3-371ba73f1a60" providerId="ADAL" clId="{86E644F5-C5C5-44C5-AC53-9C786D080528}" dt="2023-03-03T05:47:36.431" v="2444" actId="20577"/>
          <ac:graphicFrameMkLst>
            <pc:docMk/>
            <pc:sldMk cId="1453149592" sldId="616"/>
            <ac:graphicFrameMk id="5" creationId="{574884A8-5322-099E-29C5-196D20A86E90}"/>
          </ac:graphicFrameMkLst>
        </pc:graphicFrameChg>
      </pc:sldChg>
      <pc:sldChg chg="del">
        <pc:chgData name="Bethineedi, Shasi Kiranmai" userId="fd83c4d6-c3dc-4f82-acc3-371ba73f1a60" providerId="ADAL" clId="{86E644F5-C5C5-44C5-AC53-9C786D080528}" dt="2023-02-28T15:39:41.184" v="587" actId="2696"/>
        <pc:sldMkLst>
          <pc:docMk/>
          <pc:sldMk cId="295513340" sldId="617"/>
        </pc:sldMkLst>
      </pc:sldChg>
      <pc:sldChg chg="addSp delSp modSp add del mod">
        <pc:chgData name="Bethineedi, Shasi Kiranmai" userId="fd83c4d6-c3dc-4f82-acc3-371ba73f1a60" providerId="ADAL" clId="{86E644F5-C5C5-44C5-AC53-9C786D080528}" dt="2023-03-02T15:44:38.363" v="2195" actId="2696"/>
        <pc:sldMkLst>
          <pc:docMk/>
          <pc:sldMk cId="1331803731" sldId="618"/>
        </pc:sldMkLst>
        <pc:spChg chg="add del">
          <ac:chgData name="Bethineedi, Shasi Kiranmai" userId="fd83c4d6-c3dc-4f82-acc3-371ba73f1a60" providerId="ADAL" clId="{86E644F5-C5C5-44C5-AC53-9C786D080528}" dt="2023-03-02T07:13:15.536" v="1594"/>
          <ac:spMkLst>
            <pc:docMk/>
            <pc:sldMk cId="1331803731" sldId="618"/>
            <ac:spMk id="2" creationId="{F9C0425B-7A5F-13A2-A72A-4AF68CFE3599}"/>
          </ac:spMkLst>
        </pc:spChg>
        <pc:spChg chg="add del">
          <ac:chgData name="Bethineedi, Shasi Kiranmai" userId="fd83c4d6-c3dc-4f82-acc3-371ba73f1a60" providerId="ADAL" clId="{86E644F5-C5C5-44C5-AC53-9C786D080528}" dt="2023-03-01T15:58:32.255" v="980" actId="22"/>
          <ac:spMkLst>
            <pc:docMk/>
            <pc:sldMk cId="1331803731" sldId="618"/>
            <ac:spMk id="3" creationId="{AD1DAEAE-FF6F-0245-D3F1-7DF318525F6E}"/>
          </ac:spMkLst>
        </pc:spChg>
        <pc:spChg chg="add mod">
          <ac:chgData name="Bethineedi, Shasi Kiranmai" userId="fd83c4d6-c3dc-4f82-acc3-371ba73f1a60" providerId="ADAL" clId="{86E644F5-C5C5-44C5-AC53-9C786D080528}" dt="2023-03-02T07:17:36.094" v="1667" actId="21"/>
          <ac:spMkLst>
            <pc:docMk/>
            <pc:sldMk cId="1331803731" sldId="618"/>
            <ac:spMk id="3" creationId="{E9FB9230-4129-CFA0-7D79-2E1085E60B51}"/>
          </ac:spMkLst>
        </pc:spChg>
        <pc:spChg chg="mod">
          <ac:chgData name="Bethineedi, Shasi Kiranmai" userId="fd83c4d6-c3dc-4f82-acc3-371ba73f1a60" providerId="ADAL" clId="{86E644F5-C5C5-44C5-AC53-9C786D080528}" dt="2023-03-02T05:37:35.563" v="1033" actId="20577"/>
          <ac:spMkLst>
            <pc:docMk/>
            <pc:sldMk cId="1331803731" sldId="618"/>
            <ac:spMk id="13" creationId="{7D67F00E-64D4-4F25-808C-DFA838438E12}"/>
          </ac:spMkLst>
        </pc:spChg>
        <pc:spChg chg="del mod">
          <ac:chgData name="Bethineedi, Shasi Kiranmai" userId="fd83c4d6-c3dc-4f82-acc3-371ba73f1a60" providerId="ADAL" clId="{86E644F5-C5C5-44C5-AC53-9C786D080528}" dt="2023-03-02T15:36:26.511" v="1999" actId="21"/>
          <ac:spMkLst>
            <pc:docMk/>
            <pc:sldMk cId="1331803731" sldId="618"/>
            <ac:spMk id="18" creationId="{9174A902-9E50-453A-9B77-E7A4A3EEB9F8}"/>
          </ac:spMkLst>
        </pc:spChg>
        <pc:spChg chg="mod">
          <ac:chgData name="Bethineedi, Shasi Kiranmai" userId="fd83c4d6-c3dc-4f82-acc3-371ba73f1a60" providerId="ADAL" clId="{86E644F5-C5C5-44C5-AC53-9C786D080528}" dt="2023-03-02T15:34:52.670" v="1879" actId="21"/>
          <ac:spMkLst>
            <pc:docMk/>
            <pc:sldMk cId="1331803731" sldId="618"/>
            <ac:spMk id="19" creationId="{EA1EAE22-96D4-49DE-8534-1506BC81013D}"/>
          </ac:spMkLst>
        </pc:spChg>
        <pc:spChg chg="mod">
          <ac:chgData name="Bethineedi, Shasi Kiranmai" userId="fd83c4d6-c3dc-4f82-acc3-371ba73f1a60" providerId="ADAL" clId="{86E644F5-C5C5-44C5-AC53-9C786D080528}" dt="2023-03-02T15:43:40.717" v="2186" actId="21"/>
          <ac:spMkLst>
            <pc:docMk/>
            <pc:sldMk cId="1331803731" sldId="618"/>
            <ac:spMk id="20" creationId="{0B31EF80-EA35-4F64-8528-BE1603C43CB9}"/>
          </ac:spMkLst>
        </pc:spChg>
        <pc:spChg chg="mod">
          <ac:chgData name="Bethineedi, Shasi Kiranmai" userId="fd83c4d6-c3dc-4f82-acc3-371ba73f1a60" providerId="ADAL" clId="{86E644F5-C5C5-44C5-AC53-9C786D080528}" dt="2023-03-02T15:39:07.006" v="2071" actId="21"/>
          <ac:spMkLst>
            <pc:docMk/>
            <pc:sldMk cId="1331803731" sldId="618"/>
            <ac:spMk id="21" creationId="{E4D687FA-B9EC-43B9-9A40-1F773D209C43}"/>
          </ac:spMkLst>
        </pc:spChg>
        <pc:spChg chg="mod">
          <ac:chgData name="Bethineedi, Shasi Kiranmai" userId="fd83c4d6-c3dc-4f82-acc3-371ba73f1a60" providerId="ADAL" clId="{86E644F5-C5C5-44C5-AC53-9C786D080528}" dt="2023-03-02T06:47:52.462" v="1416" actId="1076"/>
          <ac:spMkLst>
            <pc:docMk/>
            <pc:sldMk cId="1331803731" sldId="618"/>
            <ac:spMk id="25" creationId="{6AFA7B94-A8C4-443E-8BB2-95A5ACCB9FB8}"/>
          </ac:spMkLst>
        </pc:spChg>
        <pc:spChg chg="mod">
          <ac:chgData name="Bethineedi, Shasi Kiranmai" userId="fd83c4d6-c3dc-4f82-acc3-371ba73f1a60" providerId="ADAL" clId="{86E644F5-C5C5-44C5-AC53-9C786D080528}" dt="2023-03-02T07:19:14.243" v="1689" actId="1076"/>
          <ac:spMkLst>
            <pc:docMk/>
            <pc:sldMk cId="1331803731" sldId="618"/>
            <ac:spMk id="26" creationId="{EE911138-91EC-403D-98A1-63E4D5AA2910}"/>
          </ac:spMkLst>
        </pc:spChg>
        <pc:spChg chg="del">
          <ac:chgData name="Bethineedi, Shasi Kiranmai" userId="fd83c4d6-c3dc-4f82-acc3-371ba73f1a60" providerId="ADAL" clId="{86E644F5-C5C5-44C5-AC53-9C786D080528}" dt="2023-03-02T05:35:55.706" v="993" actId="21"/>
          <ac:spMkLst>
            <pc:docMk/>
            <pc:sldMk cId="1331803731" sldId="618"/>
            <ac:spMk id="43" creationId="{C42FE04C-E550-46F1-B9D8-F3C16E54F794}"/>
          </ac:spMkLst>
        </pc:spChg>
        <pc:spChg chg="del">
          <ac:chgData name="Bethineedi, Shasi Kiranmai" userId="fd83c4d6-c3dc-4f82-acc3-371ba73f1a60" providerId="ADAL" clId="{86E644F5-C5C5-44C5-AC53-9C786D080528}" dt="2023-03-02T05:36:11.108" v="996" actId="21"/>
          <ac:spMkLst>
            <pc:docMk/>
            <pc:sldMk cId="1331803731" sldId="618"/>
            <ac:spMk id="44" creationId="{E211BBB1-C623-4796-B0E8-D30AF6338ABA}"/>
          </ac:spMkLst>
        </pc:spChg>
        <pc:spChg chg="del">
          <ac:chgData name="Bethineedi, Shasi Kiranmai" userId="fd83c4d6-c3dc-4f82-acc3-371ba73f1a60" providerId="ADAL" clId="{86E644F5-C5C5-44C5-AC53-9C786D080528}" dt="2023-03-02T05:36:40.405" v="999" actId="21"/>
          <ac:spMkLst>
            <pc:docMk/>
            <pc:sldMk cId="1331803731" sldId="618"/>
            <ac:spMk id="45" creationId="{410B9554-93B6-41CD-90D6-19F8DF3CA127}"/>
          </ac:spMkLst>
        </pc:spChg>
        <pc:spChg chg="del">
          <ac:chgData name="Bethineedi, Shasi Kiranmai" userId="fd83c4d6-c3dc-4f82-acc3-371ba73f1a60" providerId="ADAL" clId="{86E644F5-C5C5-44C5-AC53-9C786D080528}" dt="2023-03-02T05:36:54.039" v="1002" actId="21"/>
          <ac:spMkLst>
            <pc:docMk/>
            <pc:sldMk cId="1331803731" sldId="618"/>
            <ac:spMk id="46" creationId="{D963D3E0-1F9F-4242-9EEB-2E147D7F7677}"/>
          </ac:spMkLst>
        </pc:spChg>
      </pc:sldChg>
      <pc:sldChg chg="del">
        <pc:chgData name="Bethineedi, Shasi Kiranmai" userId="fd83c4d6-c3dc-4f82-acc3-371ba73f1a60" providerId="ADAL" clId="{86E644F5-C5C5-44C5-AC53-9C786D080528}" dt="2023-02-28T15:37:07.487" v="581" actId="2696"/>
        <pc:sldMkLst>
          <pc:docMk/>
          <pc:sldMk cId="2530564912" sldId="620"/>
        </pc:sldMkLst>
      </pc:sldChg>
      <pc:sldChg chg="addSp delSp modSp mod modClrScheme chgLayout">
        <pc:chgData name="Bethineedi, Shasi Kiranmai" userId="fd83c4d6-c3dc-4f82-acc3-371ba73f1a60" providerId="ADAL" clId="{86E644F5-C5C5-44C5-AC53-9C786D080528}" dt="2023-03-03T06:36:06.485" v="2596" actId="1076"/>
        <pc:sldMkLst>
          <pc:docMk/>
          <pc:sldMk cId="3463503812" sldId="623"/>
        </pc:sldMkLst>
        <pc:spChg chg="mod">
          <ac:chgData name="Bethineedi, Shasi Kiranmai" userId="fd83c4d6-c3dc-4f82-acc3-371ba73f1a60" providerId="ADAL" clId="{86E644F5-C5C5-44C5-AC53-9C786D080528}" dt="2023-03-01T05:51:42.037" v="899" actId="26606"/>
          <ac:spMkLst>
            <pc:docMk/>
            <pc:sldMk cId="3463503812" sldId="623"/>
            <ac:spMk id="2" creationId="{428661FC-27CF-4F5D-BDF9-9501288236CD}"/>
          </ac:spMkLst>
        </pc:spChg>
        <pc:spChg chg="mod ord">
          <ac:chgData name="Bethineedi, Shasi Kiranmai" userId="fd83c4d6-c3dc-4f82-acc3-371ba73f1a60" providerId="ADAL" clId="{86E644F5-C5C5-44C5-AC53-9C786D080528}" dt="2023-03-01T05:54:45.993" v="948" actId="20577"/>
          <ac:spMkLst>
            <pc:docMk/>
            <pc:sldMk cId="3463503812" sldId="623"/>
            <ac:spMk id="3" creationId="{2415052C-B773-46E8-A935-E7FEE5E1107B}"/>
          </ac:spMkLst>
        </pc:spChg>
        <pc:spChg chg="mod ord">
          <ac:chgData name="Bethineedi, Shasi Kiranmai" userId="fd83c4d6-c3dc-4f82-acc3-371ba73f1a60" providerId="ADAL" clId="{86E644F5-C5C5-44C5-AC53-9C786D080528}" dt="2023-03-02T15:56:13.301" v="2436" actId="1076"/>
          <ac:spMkLst>
            <pc:docMk/>
            <pc:sldMk cId="3463503812" sldId="623"/>
            <ac:spMk id="4" creationId="{F53601D5-D53B-4235-8A0F-16524F73D43C}"/>
          </ac:spMkLst>
        </pc:spChg>
        <pc:spChg chg="mod">
          <ac:chgData name="Bethineedi, Shasi Kiranmai" userId="fd83c4d6-c3dc-4f82-acc3-371ba73f1a60" providerId="ADAL" clId="{86E644F5-C5C5-44C5-AC53-9C786D080528}" dt="2023-03-03T05:48:39.036" v="2445" actId="6549"/>
          <ac:spMkLst>
            <pc:docMk/>
            <pc:sldMk cId="3463503812" sldId="623"/>
            <ac:spMk id="5" creationId="{54703816-973F-4F9E-9E21-444291470A60}"/>
          </ac:spMkLst>
        </pc:spChg>
        <pc:spChg chg="add mod ord">
          <ac:chgData name="Bethineedi, Shasi Kiranmai" userId="fd83c4d6-c3dc-4f82-acc3-371ba73f1a60" providerId="ADAL" clId="{86E644F5-C5C5-44C5-AC53-9C786D080528}" dt="2023-03-02T15:48:25.846" v="2343"/>
          <ac:spMkLst>
            <pc:docMk/>
            <pc:sldMk cId="3463503812" sldId="623"/>
            <ac:spMk id="6" creationId="{85AF8D6F-E011-3A30-7F3E-66AD62F1272A}"/>
          </ac:spMkLst>
        </pc:spChg>
        <pc:spChg chg="add mod ord">
          <ac:chgData name="Bethineedi, Shasi Kiranmai" userId="fd83c4d6-c3dc-4f82-acc3-371ba73f1a60" providerId="ADAL" clId="{86E644F5-C5C5-44C5-AC53-9C786D080528}" dt="2023-03-02T15:48:49.562" v="2345"/>
          <ac:spMkLst>
            <pc:docMk/>
            <pc:sldMk cId="3463503812" sldId="623"/>
            <ac:spMk id="7" creationId="{411092F6-3D54-8BBE-AEB3-F41C4CC64F47}"/>
          </ac:spMkLst>
        </pc:spChg>
        <pc:spChg chg="add mod">
          <ac:chgData name="Bethineedi, Shasi Kiranmai" userId="fd83c4d6-c3dc-4f82-acc3-371ba73f1a60" providerId="ADAL" clId="{86E644F5-C5C5-44C5-AC53-9C786D080528}" dt="2023-03-03T06:36:06.485" v="2596" actId="1076"/>
          <ac:spMkLst>
            <pc:docMk/>
            <pc:sldMk cId="3463503812" sldId="623"/>
            <ac:spMk id="8" creationId="{1566F7EE-0FD1-5A22-7BB2-443BF4105FC9}"/>
          </ac:spMkLst>
        </pc:spChg>
        <pc:spChg chg="add mod">
          <ac:chgData name="Bethineedi, Shasi Kiranmai" userId="fd83c4d6-c3dc-4f82-acc3-371ba73f1a60" providerId="ADAL" clId="{86E644F5-C5C5-44C5-AC53-9C786D080528}" dt="2023-03-02T15:49:26.695" v="2384" actId="20577"/>
          <ac:spMkLst>
            <pc:docMk/>
            <pc:sldMk cId="3463503812" sldId="623"/>
            <ac:spMk id="9" creationId="{8F54EC93-BD7C-F617-D1A7-07C17CDFA2D2}"/>
          </ac:spMkLst>
        </pc:spChg>
        <pc:spChg chg="add mod">
          <ac:chgData name="Bethineedi, Shasi Kiranmai" userId="fd83c4d6-c3dc-4f82-acc3-371ba73f1a60" providerId="ADAL" clId="{86E644F5-C5C5-44C5-AC53-9C786D080528}" dt="2023-03-02T05:40:53.653" v="1079" actId="20577"/>
          <ac:spMkLst>
            <pc:docMk/>
            <pc:sldMk cId="3463503812" sldId="623"/>
            <ac:spMk id="10" creationId="{52A45D5A-4F11-1212-F986-FE08413030ED}"/>
          </ac:spMkLst>
        </pc:spChg>
        <pc:spChg chg="add del mod">
          <ac:chgData name="Bethineedi, Shasi Kiranmai" userId="fd83c4d6-c3dc-4f82-acc3-371ba73f1a60" providerId="ADAL" clId="{86E644F5-C5C5-44C5-AC53-9C786D080528}" dt="2023-03-01T05:51:42.037" v="899" actId="26606"/>
          <ac:spMkLst>
            <pc:docMk/>
            <pc:sldMk cId="3463503812" sldId="623"/>
            <ac:spMk id="13" creationId="{F8E2CA61-9242-E4C8-0433-EC771BD8F975}"/>
          </ac:spMkLst>
        </pc:spChg>
      </pc:sldChg>
      <pc:sldChg chg="del">
        <pc:chgData name="Bethineedi, Shasi Kiranmai" userId="fd83c4d6-c3dc-4f82-acc3-371ba73f1a60" providerId="ADAL" clId="{86E644F5-C5C5-44C5-AC53-9C786D080528}" dt="2023-02-28T09:59:32.945" v="217" actId="2696"/>
        <pc:sldMkLst>
          <pc:docMk/>
          <pc:sldMk cId="452561308" sldId="624"/>
        </pc:sldMkLst>
      </pc:sldChg>
      <pc:sldChg chg="addSp delSp modSp add del mod">
        <pc:chgData name="Bethineedi, Shasi Kiranmai" userId="fd83c4d6-c3dc-4f82-acc3-371ba73f1a60" providerId="ADAL" clId="{86E644F5-C5C5-44C5-AC53-9C786D080528}" dt="2023-03-02T07:03:08.622" v="1435" actId="2696"/>
        <pc:sldMkLst>
          <pc:docMk/>
          <pc:sldMk cId="3905154659" sldId="624"/>
        </pc:sldMkLst>
        <pc:spChg chg="add del mod">
          <ac:chgData name="Bethineedi, Shasi Kiranmai" userId="fd83c4d6-c3dc-4f82-acc3-371ba73f1a60" providerId="ADAL" clId="{86E644F5-C5C5-44C5-AC53-9C786D080528}" dt="2023-03-02T06:48:33.236" v="1421" actId="21"/>
          <ac:spMkLst>
            <pc:docMk/>
            <pc:sldMk cId="3905154659" sldId="624"/>
            <ac:spMk id="3" creationId="{D3AA4B38-D4DB-62DF-4E0E-36759D62CDA8}"/>
          </ac:spMkLst>
        </pc:spChg>
        <pc:spChg chg="add del mod">
          <ac:chgData name="Bethineedi, Shasi Kiranmai" userId="fd83c4d6-c3dc-4f82-acc3-371ba73f1a60" providerId="ADAL" clId="{86E644F5-C5C5-44C5-AC53-9C786D080528}" dt="2023-03-02T07:01:38.579" v="1425" actId="21"/>
          <ac:spMkLst>
            <pc:docMk/>
            <pc:sldMk cId="3905154659" sldId="624"/>
            <ac:spMk id="5" creationId="{88B174D5-31FE-0543-D049-735546C1FF79}"/>
          </ac:spMkLst>
        </pc:spChg>
        <pc:spChg chg="add del mod">
          <ac:chgData name="Bethineedi, Shasi Kiranmai" userId="fd83c4d6-c3dc-4f82-acc3-371ba73f1a60" providerId="ADAL" clId="{86E644F5-C5C5-44C5-AC53-9C786D080528}" dt="2023-03-02T07:01:37.635" v="1424"/>
          <ac:spMkLst>
            <pc:docMk/>
            <pc:sldMk cId="3905154659" sldId="624"/>
            <ac:spMk id="6" creationId="{E7C62C1D-301A-DF46-6230-46E04406E7BE}"/>
          </ac:spMkLst>
        </pc:spChg>
        <pc:spChg chg="add del">
          <ac:chgData name="Bethineedi, Shasi Kiranmai" userId="fd83c4d6-c3dc-4f82-acc3-371ba73f1a60" providerId="ADAL" clId="{86E644F5-C5C5-44C5-AC53-9C786D080528}" dt="2023-03-02T07:02:55.322" v="1432" actId="22"/>
          <ac:spMkLst>
            <pc:docMk/>
            <pc:sldMk cId="3905154659" sldId="624"/>
            <ac:spMk id="8" creationId="{8A5EE47E-BEAD-27A7-0013-3CD4284900B1}"/>
          </ac:spMkLst>
        </pc:spChg>
        <pc:spChg chg="del mod">
          <ac:chgData name="Bethineedi, Shasi Kiranmai" userId="fd83c4d6-c3dc-4f82-acc3-371ba73f1a60" providerId="ADAL" clId="{86E644F5-C5C5-44C5-AC53-9C786D080528}" dt="2023-03-02T06:48:23.824" v="1420" actId="21"/>
          <ac:spMkLst>
            <pc:docMk/>
            <pc:sldMk cId="3905154659" sldId="624"/>
            <ac:spMk id="18" creationId="{9174A902-9E50-453A-9B77-E7A4A3EEB9F8}"/>
          </ac:spMkLst>
        </pc:spChg>
        <pc:spChg chg="add del mod">
          <ac:chgData name="Bethineedi, Shasi Kiranmai" userId="fd83c4d6-c3dc-4f82-acc3-371ba73f1a60" providerId="ADAL" clId="{86E644F5-C5C5-44C5-AC53-9C786D080528}" dt="2023-03-02T07:01:38.579" v="1425" actId="21"/>
          <ac:spMkLst>
            <pc:docMk/>
            <pc:sldMk cId="3905154659" sldId="624"/>
            <ac:spMk id="19" creationId="{EA1EAE22-96D4-49DE-8534-1506BC81013D}"/>
          </ac:spMkLst>
        </pc:spChg>
        <pc:spChg chg="mod">
          <ac:chgData name="Bethineedi, Shasi Kiranmai" userId="fd83c4d6-c3dc-4f82-acc3-371ba73f1a60" providerId="ADAL" clId="{86E644F5-C5C5-44C5-AC53-9C786D080528}" dt="2023-03-02T05:39:56.279" v="1051"/>
          <ac:spMkLst>
            <pc:docMk/>
            <pc:sldMk cId="3905154659" sldId="624"/>
            <ac:spMk id="20" creationId="{0B31EF80-EA35-4F64-8528-BE1603C43CB9}"/>
          </ac:spMkLst>
        </pc:spChg>
        <pc:spChg chg="mod">
          <ac:chgData name="Bethineedi, Shasi Kiranmai" userId="fd83c4d6-c3dc-4f82-acc3-371ba73f1a60" providerId="ADAL" clId="{86E644F5-C5C5-44C5-AC53-9C786D080528}" dt="2023-03-02T05:41:07.565" v="1081"/>
          <ac:spMkLst>
            <pc:docMk/>
            <pc:sldMk cId="3905154659" sldId="624"/>
            <ac:spMk id="21" creationId="{E4D687FA-B9EC-43B9-9A40-1F773D209C43}"/>
          </ac:spMkLst>
        </pc:spChg>
        <pc:spChg chg="add del mod">
          <ac:chgData name="Bethineedi, Shasi Kiranmai" userId="fd83c4d6-c3dc-4f82-acc3-371ba73f1a60" providerId="ADAL" clId="{86E644F5-C5C5-44C5-AC53-9C786D080528}" dt="2023-03-02T07:02:56.386" v="1433" actId="1076"/>
          <ac:spMkLst>
            <pc:docMk/>
            <pc:sldMk cId="3905154659" sldId="624"/>
            <ac:spMk id="25" creationId="{6AFA7B94-A8C4-443E-8BB2-95A5ACCB9FB8}"/>
          </ac:spMkLst>
        </pc:spChg>
      </pc:sldChg>
      <pc:sldChg chg="addSp delSp modSp add del mod">
        <pc:chgData name="Bethineedi, Shasi Kiranmai" userId="fd83c4d6-c3dc-4f82-acc3-371ba73f1a60" providerId="ADAL" clId="{86E644F5-C5C5-44C5-AC53-9C786D080528}" dt="2023-03-02T06:25:08.515" v="1390" actId="2696"/>
        <pc:sldMkLst>
          <pc:docMk/>
          <pc:sldMk cId="655380932" sldId="625"/>
        </pc:sldMkLst>
        <pc:spChg chg="add del mod">
          <ac:chgData name="Bethineedi, Shasi Kiranmai" userId="fd83c4d6-c3dc-4f82-acc3-371ba73f1a60" providerId="ADAL" clId="{86E644F5-C5C5-44C5-AC53-9C786D080528}" dt="2023-03-02T06:06:52.590" v="1205" actId="21"/>
          <ac:spMkLst>
            <pc:docMk/>
            <pc:sldMk cId="655380932" sldId="625"/>
            <ac:spMk id="3" creationId="{B92034AA-D796-C516-BD24-C1413AE3DCA4}"/>
          </ac:spMkLst>
        </pc:spChg>
        <pc:spChg chg="add del mod">
          <ac:chgData name="Bethineedi, Shasi Kiranmai" userId="fd83c4d6-c3dc-4f82-acc3-371ba73f1a60" providerId="ADAL" clId="{86E644F5-C5C5-44C5-AC53-9C786D080528}" dt="2023-03-02T06:07:11.049" v="1207" actId="21"/>
          <ac:spMkLst>
            <pc:docMk/>
            <pc:sldMk cId="655380932" sldId="625"/>
            <ac:spMk id="5" creationId="{2C932F1B-7967-AD2F-018B-FDCD75826502}"/>
          </ac:spMkLst>
        </pc:spChg>
        <pc:spChg chg="add del mod">
          <ac:chgData name="Bethineedi, Shasi Kiranmai" userId="fd83c4d6-c3dc-4f82-acc3-371ba73f1a60" providerId="ADAL" clId="{86E644F5-C5C5-44C5-AC53-9C786D080528}" dt="2023-03-02T06:07:24.101" v="1209" actId="21"/>
          <ac:spMkLst>
            <pc:docMk/>
            <pc:sldMk cId="655380932" sldId="625"/>
            <ac:spMk id="7" creationId="{CCF42EC8-47ED-4968-5058-F86A6896E617}"/>
          </ac:spMkLst>
        </pc:spChg>
        <pc:spChg chg="add del mod">
          <ac:chgData name="Bethineedi, Shasi Kiranmai" userId="fd83c4d6-c3dc-4f82-acc3-371ba73f1a60" providerId="ADAL" clId="{86E644F5-C5C5-44C5-AC53-9C786D080528}" dt="2023-03-02T06:07:34.494" v="1211" actId="21"/>
          <ac:spMkLst>
            <pc:docMk/>
            <pc:sldMk cId="655380932" sldId="625"/>
            <ac:spMk id="9" creationId="{D81C66C4-93B8-601C-FB45-BBFED08847FF}"/>
          </ac:spMkLst>
        </pc:spChg>
        <pc:spChg chg="add del mod">
          <ac:chgData name="Bethineedi, Shasi Kiranmai" userId="fd83c4d6-c3dc-4f82-acc3-371ba73f1a60" providerId="ADAL" clId="{86E644F5-C5C5-44C5-AC53-9C786D080528}" dt="2023-03-02T06:20:40.709" v="1368" actId="21"/>
          <ac:spMkLst>
            <pc:docMk/>
            <pc:sldMk cId="655380932" sldId="625"/>
            <ac:spMk id="11" creationId="{0691C79F-6284-E043-CFB3-6B808A0D4B77}"/>
          </ac:spMkLst>
        </pc:spChg>
        <pc:spChg chg="del">
          <ac:chgData name="Bethineedi, Shasi Kiranmai" userId="fd83c4d6-c3dc-4f82-acc3-371ba73f1a60" providerId="ADAL" clId="{86E644F5-C5C5-44C5-AC53-9C786D080528}" dt="2023-03-02T06:06:46.350" v="1204" actId="21"/>
          <ac:spMkLst>
            <pc:docMk/>
            <pc:sldMk cId="655380932" sldId="625"/>
            <ac:spMk id="18" creationId="{9174A902-9E50-453A-9B77-E7A4A3EEB9F8}"/>
          </ac:spMkLst>
        </pc:spChg>
        <pc:spChg chg="del">
          <ac:chgData name="Bethineedi, Shasi Kiranmai" userId="fd83c4d6-c3dc-4f82-acc3-371ba73f1a60" providerId="ADAL" clId="{86E644F5-C5C5-44C5-AC53-9C786D080528}" dt="2023-03-02T06:07:05.476" v="1206" actId="21"/>
          <ac:spMkLst>
            <pc:docMk/>
            <pc:sldMk cId="655380932" sldId="625"/>
            <ac:spMk id="19" creationId="{EA1EAE22-96D4-49DE-8534-1506BC81013D}"/>
          </ac:spMkLst>
        </pc:spChg>
        <pc:spChg chg="del">
          <ac:chgData name="Bethineedi, Shasi Kiranmai" userId="fd83c4d6-c3dc-4f82-acc3-371ba73f1a60" providerId="ADAL" clId="{86E644F5-C5C5-44C5-AC53-9C786D080528}" dt="2023-03-02T06:07:18.466" v="1208" actId="21"/>
          <ac:spMkLst>
            <pc:docMk/>
            <pc:sldMk cId="655380932" sldId="625"/>
            <ac:spMk id="20" creationId="{0B31EF80-EA35-4F64-8528-BE1603C43CB9}"/>
          </ac:spMkLst>
        </pc:spChg>
        <pc:spChg chg="del">
          <ac:chgData name="Bethineedi, Shasi Kiranmai" userId="fd83c4d6-c3dc-4f82-acc3-371ba73f1a60" providerId="ADAL" clId="{86E644F5-C5C5-44C5-AC53-9C786D080528}" dt="2023-03-02T06:07:28.846" v="1210" actId="21"/>
          <ac:spMkLst>
            <pc:docMk/>
            <pc:sldMk cId="655380932" sldId="625"/>
            <ac:spMk id="21" creationId="{E4D687FA-B9EC-43B9-9A40-1F773D209C43}"/>
          </ac:spMkLst>
        </pc:spChg>
        <pc:spChg chg="del">
          <ac:chgData name="Bethineedi, Shasi Kiranmai" userId="fd83c4d6-c3dc-4f82-acc3-371ba73f1a60" providerId="ADAL" clId="{86E644F5-C5C5-44C5-AC53-9C786D080528}" dt="2023-03-02T06:15:37.009" v="1338" actId="21"/>
          <ac:spMkLst>
            <pc:docMk/>
            <pc:sldMk cId="655380932" sldId="625"/>
            <ac:spMk id="27" creationId="{7CD8975D-EC41-4A07-8774-E97D84272A37}"/>
          </ac:spMkLst>
        </pc:spChg>
      </pc:sldChg>
      <pc:sldChg chg="addSp delSp modSp add del mod">
        <pc:chgData name="Bethineedi, Shasi Kiranmai" userId="fd83c4d6-c3dc-4f82-acc3-371ba73f1a60" providerId="ADAL" clId="{86E644F5-C5C5-44C5-AC53-9C786D080528}" dt="2023-03-02T07:11:34.827" v="1531" actId="2696"/>
        <pc:sldMkLst>
          <pc:docMk/>
          <pc:sldMk cId="3511772297" sldId="626"/>
        </pc:sldMkLst>
        <pc:spChg chg="mod">
          <ac:chgData name="Bethineedi, Shasi Kiranmai" userId="fd83c4d6-c3dc-4f82-acc3-371ba73f1a60" providerId="ADAL" clId="{86E644F5-C5C5-44C5-AC53-9C786D080528}" dt="2023-03-02T06:21:47.148" v="1383" actId="20577"/>
          <ac:spMkLst>
            <pc:docMk/>
            <pc:sldMk cId="3511772297" sldId="626"/>
            <ac:spMk id="2" creationId="{428661FC-27CF-4F5D-BDF9-9501288236CD}"/>
          </ac:spMkLst>
        </pc:spChg>
        <pc:spChg chg="del">
          <ac:chgData name="Bethineedi, Shasi Kiranmai" userId="fd83c4d6-c3dc-4f82-acc3-371ba73f1a60" providerId="ADAL" clId="{86E644F5-C5C5-44C5-AC53-9C786D080528}" dt="2023-03-02T06:20:18.382" v="1352" actId="21"/>
          <ac:spMkLst>
            <pc:docMk/>
            <pc:sldMk cId="3511772297" sldId="626"/>
            <ac:spMk id="3" creationId="{2415052C-B773-46E8-A935-E7FEE5E1107B}"/>
          </ac:spMkLst>
        </pc:spChg>
        <pc:spChg chg="del">
          <ac:chgData name="Bethineedi, Shasi Kiranmai" userId="fd83c4d6-c3dc-4f82-acc3-371ba73f1a60" providerId="ADAL" clId="{86E644F5-C5C5-44C5-AC53-9C786D080528}" dt="2023-03-02T06:16:26.651" v="1342" actId="21"/>
          <ac:spMkLst>
            <pc:docMk/>
            <pc:sldMk cId="3511772297" sldId="626"/>
            <ac:spMk id="4" creationId="{F53601D5-D53B-4235-8A0F-16524F73D43C}"/>
          </ac:spMkLst>
        </pc:spChg>
        <pc:spChg chg="del">
          <ac:chgData name="Bethineedi, Shasi Kiranmai" userId="fd83c4d6-c3dc-4f82-acc3-371ba73f1a60" providerId="ADAL" clId="{86E644F5-C5C5-44C5-AC53-9C786D080528}" dt="2023-03-02T06:17:29.591" v="1346" actId="21"/>
          <ac:spMkLst>
            <pc:docMk/>
            <pc:sldMk cId="3511772297" sldId="626"/>
            <ac:spMk id="5" creationId="{54703816-973F-4F9E-9E21-444291470A60}"/>
          </ac:spMkLst>
        </pc:spChg>
        <pc:spChg chg="del mod">
          <ac:chgData name="Bethineedi, Shasi Kiranmai" userId="fd83c4d6-c3dc-4f82-acc3-371ba73f1a60" providerId="ADAL" clId="{86E644F5-C5C5-44C5-AC53-9C786D080528}" dt="2023-03-02T06:20:12.902" v="1351" actId="21"/>
          <ac:spMkLst>
            <pc:docMk/>
            <pc:sldMk cId="3511772297" sldId="626"/>
            <ac:spMk id="6" creationId="{85AF8D6F-E011-3A30-7F3E-66AD62F1272A}"/>
          </ac:spMkLst>
        </pc:spChg>
        <pc:spChg chg="del">
          <ac:chgData name="Bethineedi, Shasi Kiranmai" userId="fd83c4d6-c3dc-4f82-acc3-371ba73f1a60" providerId="ADAL" clId="{86E644F5-C5C5-44C5-AC53-9C786D080528}" dt="2023-03-02T06:17:47.751" v="1349" actId="21"/>
          <ac:spMkLst>
            <pc:docMk/>
            <pc:sldMk cId="3511772297" sldId="626"/>
            <ac:spMk id="7" creationId="{411092F6-3D54-8BBE-AEB3-F41C4CC64F47}"/>
          </ac:spMkLst>
        </pc:spChg>
        <pc:spChg chg="del">
          <ac:chgData name="Bethineedi, Shasi Kiranmai" userId="fd83c4d6-c3dc-4f82-acc3-371ba73f1a60" providerId="ADAL" clId="{86E644F5-C5C5-44C5-AC53-9C786D080528}" dt="2023-03-02T06:16:50.400" v="1345" actId="21"/>
          <ac:spMkLst>
            <pc:docMk/>
            <pc:sldMk cId="3511772297" sldId="626"/>
            <ac:spMk id="8" creationId="{1566F7EE-0FD1-5A22-7BB2-443BF4105FC9}"/>
          </ac:spMkLst>
        </pc:spChg>
        <pc:spChg chg="del">
          <ac:chgData name="Bethineedi, Shasi Kiranmai" userId="fd83c4d6-c3dc-4f82-acc3-371ba73f1a60" providerId="ADAL" clId="{86E644F5-C5C5-44C5-AC53-9C786D080528}" dt="2023-03-02T06:17:42.685" v="1348" actId="21"/>
          <ac:spMkLst>
            <pc:docMk/>
            <pc:sldMk cId="3511772297" sldId="626"/>
            <ac:spMk id="9" creationId="{8F54EC93-BD7C-F617-D1A7-07C17CDFA2D2}"/>
          </ac:spMkLst>
        </pc:spChg>
        <pc:spChg chg="del">
          <ac:chgData name="Bethineedi, Shasi Kiranmai" userId="fd83c4d6-c3dc-4f82-acc3-371ba73f1a60" providerId="ADAL" clId="{86E644F5-C5C5-44C5-AC53-9C786D080528}" dt="2023-03-02T06:16:44.893" v="1344" actId="21"/>
          <ac:spMkLst>
            <pc:docMk/>
            <pc:sldMk cId="3511772297" sldId="626"/>
            <ac:spMk id="10" creationId="{52A45D5A-4F11-1212-F986-FE08413030ED}"/>
          </ac:spMkLst>
        </pc:spChg>
        <pc:spChg chg="add del mod">
          <ac:chgData name="Bethineedi, Shasi Kiranmai" userId="fd83c4d6-c3dc-4f82-acc3-371ba73f1a60" providerId="ADAL" clId="{86E644F5-C5C5-44C5-AC53-9C786D080528}" dt="2023-03-02T06:16:33.212" v="1343" actId="21"/>
          <ac:spMkLst>
            <pc:docMk/>
            <pc:sldMk cId="3511772297" sldId="626"/>
            <ac:spMk id="12" creationId="{BB6DBD93-CE1E-38A0-0C31-ABB4CF649267}"/>
          </ac:spMkLst>
        </pc:spChg>
        <pc:spChg chg="add del mod">
          <ac:chgData name="Bethineedi, Shasi Kiranmai" userId="fd83c4d6-c3dc-4f82-acc3-371ba73f1a60" providerId="ADAL" clId="{86E644F5-C5C5-44C5-AC53-9C786D080528}" dt="2023-03-02T06:17:38.168" v="1347" actId="21"/>
          <ac:spMkLst>
            <pc:docMk/>
            <pc:sldMk cId="3511772297" sldId="626"/>
            <ac:spMk id="14" creationId="{6A4C5AB7-A38F-B2FC-3632-F96C86C64252}"/>
          </ac:spMkLst>
        </pc:spChg>
        <pc:spChg chg="add del mod">
          <ac:chgData name="Bethineedi, Shasi Kiranmai" userId="fd83c4d6-c3dc-4f82-acc3-371ba73f1a60" providerId="ADAL" clId="{86E644F5-C5C5-44C5-AC53-9C786D080528}" dt="2023-03-02T06:20:23.521" v="1353" actId="21"/>
          <ac:spMkLst>
            <pc:docMk/>
            <pc:sldMk cId="3511772297" sldId="626"/>
            <ac:spMk id="16" creationId="{04B7B6F0-5758-E1E2-9098-66F6EFC51DFE}"/>
          </ac:spMkLst>
        </pc:spChg>
        <pc:spChg chg="add mod">
          <ac:chgData name="Bethineedi, Shasi Kiranmai" userId="fd83c4d6-c3dc-4f82-acc3-371ba73f1a60" providerId="ADAL" clId="{86E644F5-C5C5-44C5-AC53-9C786D080528}" dt="2023-03-02T07:10:25.666" v="1526" actId="6549"/>
          <ac:spMkLst>
            <pc:docMk/>
            <pc:sldMk cId="3511772297" sldId="626"/>
            <ac:spMk id="17" creationId="{9CAAB99A-C625-C5E8-10FE-356B089A87F6}"/>
          </ac:spMkLst>
        </pc:spChg>
      </pc:sldChg>
      <pc:sldChg chg="addSp delSp modSp add del mod">
        <pc:chgData name="Bethineedi, Shasi Kiranmai" userId="fd83c4d6-c3dc-4f82-acc3-371ba73f1a60" providerId="ADAL" clId="{86E644F5-C5C5-44C5-AC53-9C786D080528}" dt="2023-03-02T15:57:02.825" v="2439" actId="2696"/>
        <pc:sldMkLst>
          <pc:docMk/>
          <pc:sldMk cId="755461978" sldId="627"/>
        </pc:sldMkLst>
        <pc:spChg chg="add del">
          <ac:chgData name="Bethineedi, Shasi Kiranmai" userId="fd83c4d6-c3dc-4f82-acc3-371ba73f1a60" providerId="ADAL" clId="{86E644F5-C5C5-44C5-AC53-9C786D080528}" dt="2023-03-02T07:04:17.597" v="1442" actId="22"/>
          <ac:spMkLst>
            <pc:docMk/>
            <pc:sldMk cId="755461978" sldId="627"/>
            <ac:spMk id="3" creationId="{1C7543DD-8502-4DF2-7DB1-D8602A2F59F0}"/>
          </ac:spMkLst>
        </pc:spChg>
        <pc:spChg chg="add">
          <ac:chgData name="Bethineedi, Shasi Kiranmai" userId="fd83c4d6-c3dc-4f82-acc3-371ba73f1a60" providerId="ADAL" clId="{86E644F5-C5C5-44C5-AC53-9C786D080528}" dt="2023-03-02T07:06:13.377" v="1482"/>
          <ac:spMkLst>
            <pc:docMk/>
            <pc:sldMk cId="755461978" sldId="627"/>
            <ac:spMk id="4" creationId="{0C42EFE1-C75B-E77B-8FA3-E135850A2155}"/>
          </ac:spMkLst>
        </pc:spChg>
        <pc:spChg chg="add">
          <ac:chgData name="Bethineedi, Shasi Kiranmai" userId="fd83c4d6-c3dc-4f82-acc3-371ba73f1a60" providerId="ADAL" clId="{86E644F5-C5C5-44C5-AC53-9C786D080528}" dt="2023-03-02T07:06:13.377" v="1482"/>
          <ac:spMkLst>
            <pc:docMk/>
            <pc:sldMk cId="755461978" sldId="627"/>
            <ac:spMk id="5" creationId="{8B7D6E7C-B08E-69A0-78D2-85FA2057BB98}"/>
          </ac:spMkLst>
        </pc:spChg>
        <pc:spChg chg="add del mod">
          <ac:chgData name="Bethineedi, Shasi Kiranmai" userId="fd83c4d6-c3dc-4f82-acc3-371ba73f1a60" providerId="ADAL" clId="{86E644F5-C5C5-44C5-AC53-9C786D080528}" dt="2023-03-02T07:06:31.252" v="1486"/>
          <ac:spMkLst>
            <pc:docMk/>
            <pc:sldMk cId="755461978" sldId="627"/>
            <ac:spMk id="6" creationId="{B809C254-F195-A139-0FD3-EF7039798B16}"/>
          </ac:spMkLst>
        </pc:spChg>
        <pc:spChg chg="add mod">
          <ac:chgData name="Bethineedi, Shasi Kiranmai" userId="fd83c4d6-c3dc-4f82-acc3-371ba73f1a60" providerId="ADAL" clId="{86E644F5-C5C5-44C5-AC53-9C786D080528}" dt="2023-03-02T15:23:53.074" v="1698" actId="20577"/>
          <ac:spMkLst>
            <pc:docMk/>
            <pc:sldMk cId="755461978" sldId="627"/>
            <ac:spMk id="7" creationId="{C1158CEB-8FF1-F4D3-7EF6-DE659BC9434E}"/>
          </ac:spMkLst>
        </pc:spChg>
        <pc:spChg chg="mod">
          <ac:chgData name="Bethineedi, Shasi Kiranmai" userId="fd83c4d6-c3dc-4f82-acc3-371ba73f1a60" providerId="ADAL" clId="{86E644F5-C5C5-44C5-AC53-9C786D080528}" dt="2023-03-02T15:46:07.353" v="2302" actId="21"/>
          <ac:spMkLst>
            <pc:docMk/>
            <pc:sldMk cId="755461978" sldId="627"/>
            <ac:spMk id="18" creationId="{9174A902-9E50-453A-9B77-E7A4A3EEB9F8}"/>
          </ac:spMkLst>
        </pc:spChg>
        <pc:spChg chg="mod">
          <ac:chgData name="Bethineedi, Shasi Kiranmai" userId="fd83c4d6-c3dc-4f82-acc3-371ba73f1a60" providerId="ADAL" clId="{86E644F5-C5C5-44C5-AC53-9C786D080528}" dt="2023-03-02T15:24:05.073" v="1700" actId="20577"/>
          <ac:spMkLst>
            <pc:docMk/>
            <pc:sldMk cId="755461978" sldId="627"/>
            <ac:spMk id="19" creationId="{EA1EAE22-96D4-49DE-8534-1506BC81013D}"/>
          </ac:spMkLst>
        </pc:spChg>
        <pc:spChg chg="mod">
          <ac:chgData name="Bethineedi, Shasi Kiranmai" userId="fd83c4d6-c3dc-4f82-acc3-371ba73f1a60" providerId="ADAL" clId="{86E644F5-C5C5-44C5-AC53-9C786D080528}" dt="2023-03-02T07:10:40.014" v="1528" actId="21"/>
          <ac:spMkLst>
            <pc:docMk/>
            <pc:sldMk cId="755461978" sldId="627"/>
            <ac:spMk id="20" creationId="{0B31EF80-EA35-4F64-8528-BE1603C43CB9}"/>
          </ac:spMkLst>
        </pc:spChg>
        <pc:spChg chg="del mod">
          <ac:chgData name="Bethineedi, Shasi Kiranmai" userId="fd83c4d6-c3dc-4f82-acc3-371ba73f1a60" providerId="ADAL" clId="{86E644F5-C5C5-44C5-AC53-9C786D080528}" dt="2023-03-02T07:04:52.286" v="1481" actId="21"/>
          <ac:spMkLst>
            <pc:docMk/>
            <pc:sldMk cId="755461978" sldId="627"/>
            <ac:spMk id="21" creationId="{E4D687FA-B9EC-43B9-9A40-1F773D209C43}"/>
          </ac:spMkLst>
        </pc:spChg>
        <pc:picChg chg="add del mod">
          <ac:chgData name="Bethineedi, Shasi Kiranmai" userId="fd83c4d6-c3dc-4f82-acc3-371ba73f1a60" providerId="ADAL" clId="{86E644F5-C5C5-44C5-AC53-9C786D080528}" dt="2023-03-02T07:06:31.252" v="1486"/>
          <ac:picMkLst>
            <pc:docMk/>
            <pc:sldMk cId="755461978" sldId="627"/>
            <ac:picMk id="1028" creationId="{DE7A04E0-9949-427C-B7B0-07841DB57DD8}"/>
          </ac:picMkLst>
        </pc:picChg>
      </pc:sldChg>
      <pc:sldChg chg="addSp delSp modSp add mod">
        <pc:chgData name="Bethineedi, Shasi Kiranmai" userId="fd83c4d6-c3dc-4f82-acc3-371ba73f1a60" providerId="ADAL" clId="{86E644F5-C5C5-44C5-AC53-9C786D080528}" dt="2023-03-02T15:25:31.924" v="1743" actId="21"/>
        <pc:sldMkLst>
          <pc:docMk/>
          <pc:sldMk cId="795296932" sldId="628"/>
        </pc:sldMkLst>
        <pc:spChg chg="mod">
          <ac:chgData name="Bethineedi, Shasi Kiranmai" userId="fd83c4d6-c3dc-4f82-acc3-371ba73f1a60" providerId="ADAL" clId="{86E644F5-C5C5-44C5-AC53-9C786D080528}" dt="2023-03-02T15:24:44.884" v="1733" actId="20577"/>
          <ac:spMkLst>
            <pc:docMk/>
            <pc:sldMk cId="795296932" sldId="628"/>
            <ac:spMk id="2" creationId="{428661FC-27CF-4F5D-BDF9-9501288236CD}"/>
          </ac:spMkLst>
        </pc:spChg>
        <pc:spChg chg="del">
          <ac:chgData name="Bethineedi, Shasi Kiranmai" userId="fd83c4d6-c3dc-4f82-acc3-371ba73f1a60" providerId="ADAL" clId="{86E644F5-C5C5-44C5-AC53-9C786D080528}" dt="2023-03-02T15:25:31.924" v="1743" actId="21"/>
          <ac:spMkLst>
            <pc:docMk/>
            <pc:sldMk cId="795296932" sldId="628"/>
            <ac:spMk id="3" creationId="{2415052C-B773-46E8-A935-E7FEE5E1107B}"/>
          </ac:spMkLst>
        </pc:spChg>
        <pc:spChg chg="del">
          <ac:chgData name="Bethineedi, Shasi Kiranmai" userId="fd83c4d6-c3dc-4f82-acc3-371ba73f1a60" providerId="ADAL" clId="{86E644F5-C5C5-44C5-AC53-9C786D080528}" dt="2023-03-02T15:25:18.866" v="1740" actId="21"/>
          <ac:spMkLst>
            <pc:docMk/>
            <pc:sldMk cId="795296932" sldId="628"/>
            <ac:spMk id="4" creationId="{F53601D5-D53B-4235-8A0F-16524F73D43C}"/>
          </ac:spMkLst>
        </pc:spChg>
        <pc:spChg chg="del">
          <ac:chgData name="Bethineedi, Shasi Kiranmai" userId="fd83c4d6-c3dc-4f82-acc3-371ba73f1a60" providerId="ADAL" clId="{86E644F5-C5C5-44C5-AC53-9C786D080528}" dt="2023-03-02T15:25:07.893" v="1737" actId="21"/>
          <ac:spMkLst>
            <pc:docMk/>
            <pc:sldMk cId="795296932" sldId="628"/>
            <ac:spMk id="5" creationId="{54703816-973F-4F9E-9E21-444291470A60}"/>
          </ac:spMkLst>
        </pc:spChg>
        <pc:spChg chg="del">
          <ac:chgData name="Bethineedi, Shasi Kiranmai" userId="fd83c4d6-c3dc-4f82-acc3-371ba73f1a60" providerId="ADAL" clId="{86E644F5-C5C5-44C5-AC53-9C786D080528}" dt="2023-03-02T15:24:54.470" v="1734" actId="21"/>
          <ac:spMkLst>
            <pc:docMk/>
            <pc:sldMk cId="795296932" sldId="628"/>
            <ac:spMk id="6" creationId="{85AF8D6F-E011-3A30-7F3E-66AD62F1272A}"/>
          </ac:spMkLst>
        </pc:spChg>
        <pc:spChg chg="del">
          <ac:chgData name="Bethineedi, Shasi Kiranmai" userId="fd83c4d6-c3dc-4f82-acc3-371ba73f1a60" providerId="ADAL" clId="{86E644F5-C5C5-44C5-AC53-9C786D080528}" dt="2023-03-02T15:24:58.774" v="1735" actId="21"/>
          <ac:spMkLst>
            <pc:docMk/>
            <pc:sldMk cId="795296932" sldId="628"/>
            <ac:spMk id="7" creationId="{411092F6-3D54-8BBE-AEB3-F41C4CC64F47}"/>
          </ac:spMkLst>
        </pc:spChg>
        <pc:spChg chg="del">
          <ac:chgData name="Bethineedi, Shasi Kiranmai" userId="fd83c4d6-c3dc-4f82-acc3-371ba73f1a60" providerId="ADAL" clId="{86E644F5-C5C5-44C5-AC53-9C786D080528}" dt="2023-03-02T15:25:11.215" v="1738" actId="21"/>
          <ac:spMkLst>
            <pc:docMk/>
            <pc:sldMk cId="795296932" sldId="628"/>
            <ac:spMk id="8" creationId="{1566F7EE-0FD1-5A22-7BB2-443BF4105FC9}"/>
          </ac:spMkLst>
        </pc:spChg>
        <pc:spChg chg="del">
          <ac:chgData name="Bethineedi, Shasi Kiranmai" userId="fd83c4d6-c3dc-4f82-acc3-371ba73f1a60" providerId="ADAL" clId="{86E644F5-C5C5-44C5-AC53-9C786D080528}" dt="2023-03-02T15:25:03.137" v="1736" actId="21"/>
          <ac:spMkLst>
            <pc:docMk/>
            <pc:sldMk cId="795296932" sldId="628"/>
            <ac:spMk id="9" creationId="{8F54EC93-BD7C-F617-D1A7-07C17CDFA2D2}"/>
          </ac:spMkLst>
        </pc:spChg>
        <pc:spChg chg="del">
          <ac:chgData name="Bethineedi, Shasi Kiranmai" userId="fd83c4d6-c3dc-4f82-acc3-371ba73f1a60" providerId="ADAL" clId="{86E644F5-C5C5-44C5-AC53-9C786D080528}" dt="2023-03-02T15:25:27.347" v="1742" actId="21"/>
          <ac:spMkLst>
            <pc:docMk/>
            <pc:sldMk cId="795296932" sldId="628"/>
            <ac:spMk id="10" creationId="{52A45D5A-4F11-1212-F986-FE08413030ED}"/>
          </ac:spMkLst>
        </pc:spChg>
        <pc:spChg chg="add del mod">
          <ac:chgData name="Bethineedi, Shasi Kiranmai" userId="fd83c4d6-c3dc-4f82-acc3-371ba73f1a60" providerId="ADAL" clId="{86E644F5-C5C5-44C5-AC53-9C786D080528}" dt="2023-03-02T15:25:14.896" v="1739" actId="21"/>
          <ac:spMkLst>
            <pc:docMk/>
            <pc:sldMk cId="795296932" sldId="628"/>
            <ac:spMk id="12" creationId="{3FE74F09-C9F8-5CC1-0413-623E292DA2E5}"/>
          </ac:spMkLst>
        </pc:spChg>
        <pc:spChg chg="add del mod">
          <ac:chgData name="Bethineedi, Shasi Kiranmai" userId="fd83c4d6-c3dc-4f82-acc3-371ba73f1a60" providerId="ADAL" clId="{86E644F5-C5C5-44C5-AC53-9C786D080528}" dt="2023-03-02T15:25:23.224" v="1741" actId="21"/>
          <ac:spMkLst>
            <pc:docMk/>
            <pc:sldMk cId="795296932" sldId="628"/>
            <ac:spMk id="14" creationId="{987EE618-FBB4-488B-8270-03230D10B80E}"/>
          </ac:spMkLst>
        </pc:spChg>
        <pc:spChg chg="add mod">
          <ac:chgData name="Bethineedi, Shasi Kiranmai" userId="fd83c4d6-c3dc-4f82-acc3-371ba73f1a60" providerId="ADAL" clId="{86E644F5-C5C5-44C5-AC53-9C786D080528}" dt="2023-03-02T15:25:31.924" v="1743" actId="21"/>
          <ac:spMkLst>
            <pc:docMk/>
            <pc:sldMk cId="795296932" sldId="628"/>
            <ac:spMk id="16" creationId="{DDA30558-DE1F-690A-7477-AA60362E128C}"/>
          </ac:spMkLst>
        </pc:spChg>
      </pc:sldChg>
      <pc:sldChg chg="addSp delSp modSp add mod modClrScheme chgLayout">
        <pc:chgData name="Bethineedi, Shasi Kiranmai" userId="fd83c4d6-c3dc-4f82-acc3-371ba73f1a60" providerId="ADAL" clId="{86E644F5-C5C5-44C5-AC53-9C786D080528}" dt="2023-03-02T15:42:41.986" v="2154" actId="14100"/>
        <pc:sldMkLst>
          <pc:docMk/>
          <pc:sldMk cId="31663736" sldId="629"/>
        </pc:sldMkLst>
        <pc:spChg chg="mod">
          <ac:chgData name="Bethineedi, Shasi Kiranmai" userId="fd83c4d6-c3dc-4f82-acc3-371ba73f1a60" providerId="ADAL" clId="{86E644F5-C5C5-44C5-AC53-9C786D080528}" dt="2023-03-02T15:38:01.566" v="2062" actId="20577"/>
          <ac:spMkLst>
            <pc:docMk/>
            <pc:sldMk cId="31663736" sldId="629"/>
            <ac:spMk id="2" creationId="{64F64BD2-7E09-45E2-95C0-B3726BD6234A}"/>
          </ac:spMkLst>
        </pc:spChg>
        <pc:spChg chg="add del mod">
          <ac:chgData name="Bethineedi, Shasi Kiranmai" userId="fd83c4d6-c3dc-4f82-acc3-371ba73f1a60" providerId="ADAL" clId="{86E644F5-C5C5-44C5-AC53-9C786D080528}" dt="2023-03-02T15:37:45.206" v="2032" actId="21"/>
          <ac:spMkLst>
            <pc:docMk/>
            <pc:sldMk cId="31663736" sldId="629"/>
            <ac:spMk id="4" creationId="{BE1A671F-FAA3-385B-2464-D403E68F9FD6}"/>
          </ac:spMkLst>
        </pc:spChg>
        <pc:spChg chg="add del mod">
          <ac:chgData name="Bethineedi, Shasi Kiranmai" userId="fd83c4d6-c3dc-4f82-acc3-371ba73f1a60" providerId="ADAL" clId="{86E644F5-C5C5-44C5-AC53-9C786D080528}" dt="2023-03-02T15:37:00.844" v="2001" actId="26606"/>
          <ac:spMkLst>
            <pc:docMk/>
            <pc:sldMk cId="31663736" sldId="629"/>
            <ac:spMk id="10" creationId="{0BA3F53D-6BE9-26A2-1883-6D3F943B950A}"/>
          </ac:spMkLst>
        </pc:spChg>
        <pc:spChg chg="add del mod">
          <ac:chgData name="Bethineedi, Shasi Kiranmai" userId="fd83c4d6-c3dc-4f82-acc3-371ba73f1a60" providerId="ADAL" clId="{86E644F5-C5C5-44C5-AC53-9C786D080528}" dt="2023-03-02T15:37:00.844" v="2001" actId="26606"/>
          <ac:spMkLst>
            <pc:docMk/>
            <pc:sldMk cId="31663736" sldId="629"/>
            <ac:spMk id="12" creationId="{FAA3940C-EC55-DE91-710D-CC477EF97022}"/>
          </ac:spMkLst>
        </pc:spChg>
        <pc:spChg chg="add del mod">
          <ac:chgData name="Bethineedi, Shasi Kiranmai" userId="fd83c4d6-c3dc-4f82-acc3-371ba73f1a60" providerId="ADAL" clId="{86E644F5-C5C5-44C5-AC53-9C786D080528}" dt="2023-03-02T15:37:00.844" v="2001" actId="26606"/>
          <ac:spMkLst>
            <pc:docMk/>
            <pc:sldMk cId="31663736" sldId="629"/>
            <ac:spMk id="14" creationId="{6EE51205-758D-4661-36A4-7473E90BC5B5}"/>
          </ac:spMkLst>
        </pc:spChg>
        <pc:spChg chg="add del mod">
          <ac:chgData name="Bethineedi, Shasi Kiranmai" userId="fd83c4d6-c3dc-4f82-acc3-371ba73f1a60" providerId="ADAL" clId="{86E644F5-C5C5-44C5-AC53-9C786D080528}" dt="2023-03-02T15:37:00.844" v="2001" actId="26606"/>
          <ac:spMkLst>
            <pc:docMk/>
            <pc:sldMk cId="31663736" sldId="629"/>
            <ac:spMk id="16" creationId="{ADBBFA2B-D3C9-62C3-962F-857FEF618C3A}"/>
          </ac:spMkLst>
        </pc:spChg>
        <pc:spChg chg="add del mod">
          <ac:chgData name="Bethineedi, Shasi Kiranmai" userId="fd83c4d6-c3dc-4f82-acc3-371ba73f1a60" providerId="ADAL" clId="{86E644F5-C5C5-44C5-AC53-9C786D080528}" dt="2023-03-02T15:37:00.844" v="2001" actId="26606"/>
          <ac:spMkLst>
            <pc:docMk/>
            <pc:sldMk cId="31663736" sldId="629"/>
            <ac:spMk id="18" creationId="{D9F4469F-D9A4-E425-6AE8-F20089A2FA9F}"/>
          </ac:spMkLst>
        </pc:spChg>
        <pc:spChg chg="add del mod">
          <ac:chgData name="Bethineedi, Shasi Kiranmai" userId="fd83c4d6-c3dc-4f82-acc3-371ba73f1a60" providerId="ADAL" clId="{86E644F5-C5C5-44C5-AC53-9C786D080528}" dt="2023-03-02T15:37:41.437" v="2031" actId="21"/>
          <ac:spMkLst>
            <pc:docMk/>
            <pc:sldMk cId="31663736" sldId="629"/>
            <ac:spMk id="20" creationId="{E945C728-882C-59D6-FE40-CA0DAB488EEB}"/>
          </ac:spMkLst>
        </pc:spChg>
        <pc:graphicFrameChg chg="mod modGraphic">
          <ac:chgData name="Bethineedi, Shasi Kiranmai" userId="fd83c4d6-c3dc-4f82-acc3-371ba73f1a60" providerId="ADAL" clId="{86E644F5-C5C5-44C5-AC53-9C786D080528}" dt="2023-03-02T15:42:41.986" v="2154" actId="14100"/>
          <ac:graphicFrameMkLst>
            <pc:docMk/>
            <pc:sldMk cId="31663736" sldId="629"/>
            <ac:graphicFrameMk id="5" creationId="{574884A8-5322-099E-29C5-196D20A86E90}"/>
          </ac:graphicFrameMkLst>
        </pc:graphicFrameChg>
      </pc:sldChg>
      <pc:sldChg chg="addSp delSp modSp add mod">
        <pc:chgData name="Bethineedi, Shasi Kiranmai" userId="fd83c4d6-c3dc-4f82-acc3-371ba73f1a60" providerId="ADAL" clId="{86E644F5-C5C5-44C5-AC53-9C786D080528}" dt="2023-03-03T05:50:34.265" v="2446"/>
        <pc:sldMkLst>
          <pc:docMk/>
          <pc:sldMk cId="3976137903" sldId="630"/>
        </pc:sldMkLst>
        <pc:spChg chg="mod">
          <ac:chgData name="Bethineedi, Shasi Kiranmai" userId="fd83c4d6-c3dc-4f82-acc3-371ba73f1a60" providerId="ADAL" clId="{86E644F5-C5C5-44C5-AC53-9C786D080528}" dt="2023-03-02T15:41:40.010" v="2148" actId="20577"/>
          <ac:spMkLst>
            <pc:docMk/>
            <pc:sldMk cId="3976137903" sldId="630"/>
            <ac:spMk id="2" creationId="{64F64BD2-7E09-45E2-95C0-B3726BD6234A}"/>
          </ac:spMkLst>
        </pc:spChg>
        <pc:spChg chg="add del">
          <ac:chgData name="Bethineedi, Shasi Kiranmai" userId="fd83c4d6-c3dc-4f82-acc3-371ba73f1a60" providerId="ADAL" clId="{86E644F5-C5C5-44C5-AC53-9C786D080528}" dt="2023-03-02T15:42:14.652" v="2151" actId="21"/>
          <ac:spMkLst>
            <pc:docMk/>
            <pc:sldMk cId="3976137903" sldId="630"/>
            <ac:spMk id="10" creationId="{A38F1F7A-B95D-DEAE-C7E3-C12CDA3A83D4}"/>
          </ac:spMkLst>
        </pc:spChg>
        <pc:graphicFrameChg chg="add del mod modGraphic">
          <ac:chgData name="Bethineedi, Shasi Kiranmai" userId="fd83c4d6-c3dc-4f82-acc3-371ba73f1a60" providerId="ADAL" clId="{86E644F5-C5C5-44C5-AC53-9C786D080528}" dt="2023-03-03T05:50:34.265" v="2446"/>
          <ac:graphicFrameMkLst>
            <pc:docMk/>
            <pc:sldMk cId="3976137903" sldId="630"/>
            <ac:graphicFrameMk id="5" creationId="{574884A8-5322-099E-29C5-196D20A86E90}"/>
          </ac:graphicFrameMkLst>
        </pc:graphicFrameChg>
      </pc:sldChg>
      <pc:sldChg chg="modSp add mod">
        <pc:chgData name="Bethineedi, Shasi Kiranmai" userId="fd83c4d6-c3dc-4f82-acc3-371ba73f1a60" providerId="ADAL" clId="{86E644F5-C5C5-44C5-AC53-9C786D080528}" dt="2023-03-02T15:41:13.417" v="2120"/>
        <pc:sldMkLst>
          <pc:docMk/>
          <pc:sldMk cId="3034978546" sldId="631"/>
        </pc:sldMkLst>
        <pc:spChg chg="mod">
          <ac:chgData name="Bethineedi, Shasi Kiranmai" userId="fd83c4d6-c3dc-4f82-acc3-371ba73f1a60" providerId="ADAL" clId="{86E644F5-C5C5-44C5-AC53-9C786D080528}" dt="2023-03-02T15:40:32.634" v="2119" actId="20577"/>
          <ac:spMkLst>
            <pc:docMk/>
            <pc:sldMk cId="3034978546" sldId="631"/>
            <ac:spMk id="2" creationId="{64F64BD2-7E09-45E2-95C0-B3726BD6234A}"/>
          </ac:spMkLst>
        </pc:spChg>
        <pc:graphicFrameChg chg="mod">
          <ac:chgData name="Bethineedi, Shasi Kiranmai" userId="fd83c4d6-c3dc-4f82-acc3-371ba73f1a60" providerId="ADAL" clId="{86E644F5-C5C5-44C5-AC53-9C786D080528}" dt="2023-03-02T15:41:13.417" v="2120"/>
          <ac:graphicFrameMkLst>
            <pc:docMk/>
            <pc:sldMk cId="3034978546" sldId="631"/>
            <ac:graphicFrameMk id="5" creationId="{574884A8-5322-099E-29C5-196D20A86E90}"/>
          </ac:graphicFrameMkLst>
        </pc:graphicFrameChg>
      </pc:sldChg>
      <pc:sldChg chg="addSp delSp modSp add mod">
        <pc:chgData name="Bethineedi, Shasi Kiranmai" userId="fd83c4d6-c3dc-4f82-acc3-371ba73f1a60" providerId="ADAL" clId="{86E644F5-C5C5-44C5-AC53-9C786D080528}" dt="2023-03-03T05:51:10.698" v="2449"/>
        <pc:sldMkLst>
          <pc:docMk/>
          <pc:sldMk cId="2375255855" sldId="632"/>
        </pc:sldMkLst>
        <pc:spChg chg="mod">
          <ac:chgData name="Bethineedi, Shasi Kiranmai" userId="fd83c4d6-c3dc-4f82-acc3-371ba73f1a60" providerId="ADAL" clId="{86E644F5-C5C5-44C5-AC53-9C786D080528}" dt="2023-03-02T15:43:26.533" v="2183" actId="27636"/>
          <ac:spMkLst>
            <pc:docMk/>
            <pc:sldMk cId="2375255855" sldId="632"/>
            <ac:spMk id="2" creationId="{64F64BD2-7E09-45E2-95C0-B3726BD6234A}"/>
          </ac:spMkLst>
        </pc:spChg>
        <pc:graphicFrameChg chg="add del mod">
          <ac:chgData name="Bethineedi, Shasi Kiranmai" userId="fd83c4d6-c3dc-4f82-acc3-371ba73f1a60" providerId="ADAL" clId="{86E644F5-C5C5-44C5-AC53-9C786D080528}" dt="2023-03-03T05:51:10.698" v="2449"/>
          <ac:graphicFrameMkLst>
            <pc:docMk/>
            <pc:sldMk cId="2375255855" sldId="632"/>
            <ac:graphicFrameMk id="5" creationId="{574884A8-5322-099E-29C5-196D20A86E90}"/>
          </ac:graphicFrameMkLst>
        </pc:graphicFrameChg>
      </pc:sldChg>
      <pc:sldChg chg="addSp delSp modSp add del mod">
        <pc:chgData name="Bethineedi, Shasi Kiranmai" userId="fd83c4d6-c3dc-4f82-acc3-371ba73f1a60" providerId="ADAL" clId="{86E644F5-C5C5-44C5-AC53-9C786D080528}" dt="2023-03-02T15:57:35.295" v="2440" actId="2696"/>
        <pc:sldMkLst>
          <pc:docMk/>
          <pc:sldMk cId="994951156" sldId="633"/>
        </pc:sldMkLst>
        <pc:spChg chg="mod">
          <ac:chgData name="Bethineedi, Shasi Kiranmai" userId="fd83c4d6-c3dc-4f82-acc3-371ba73f1a60" providerId="ADAL" clId="{86E644F5-C5C5-44C5-AC53-9C786D080528}" dt="2023-03-02T15:45:56.253" v="2301"/>
          <ac:spMkLst>
            <pc:docMk/>
            <pc:sldMk cId="994951156" sldId="633"/>
            <ac:spMk id="2" creationId="{64F64BD2-7E09-45E2-95C0-B3726BD6234A}"/>
          </ac:spMkLst>
        </pc:spChg>
        <pc:spChg chg="add del">
          <ac:chgData name="Bethineedi, Shasi Kiranmai" userId="fd83c4d6-c3dc-4f82-acc3-371ba73f1a60" providerId="ADAL" clId="{86E644F5-C5C5-44C5-AC53-9C786D080528}" dt="2023-03-02T15:47:35.309" v="2323" actId="21"/>
          <ac:spMkLst>
            <pc:docMk/>
            <pc:sldMk cId="994951156" sldId="633"/>
            <ac:spMk id="11" creationId="{EF22EBCE-63F7-F6E6-3B3E-257BFB6049A3}"/>
          </ac:spMkLst>
        </pc:spChg>
        <pc:graphicFrameChg chg="del mod">
          <ac:chgData name="Bethineedi, Shasi Kiranmai" userId="fd83c4d6-c3dc-4f82-acc3-371ba73f1a60" providerId="ADAL" clId="{86E644F5-C5C5-44C5-AC53-9C786D080528}" dt="2023-03-02T15:47:27.567" v="2322" actId="26606"/>
          <ac:graphicFrameMkLst>
            <pc:docMk/>
            <pc:sldMk cId="994951156" sldId="633"/>
            <ac:graphicFrameMk id="5" creationId="{574884A8-5322-099E-29C5-196D20A86E90}"/>
          </ac:graphicFrameMkLst>
        </pc:graphicFrameChg>
        <pc:graphicFrameChg chg="add mod">
          <ac:chgData name="Bethineedi, Shasi Kiranmai" userId="fd83c4d6-c3dc-4f82-acc3-371ba73f1a60" providerId="ADAL" clId="{86E644F5-C5C5-44C5-AC53-9C786D080528}" dt="2023-03-02T15:47:42.128" v="2324" actId="14100"/>
          <ac:graphicFrameMkLst>
            <pc:docMk/>
            <pc:sldMk cId="994951156" sldId="633"/>
            <ac:graphicFrameMk id="7" creationId="{61E99488-97CF-F6B5-4C21-526B1051C78A}"/>
          </ac:graphicFrameMkLst>
        </pc:graphicFrameChg>
      </pc:sldChg>
      <pc:sldChg chg="addSp delSp modSp new mod">
        <pc:chgData name="Bethineedi, Shasi Kiranmai" userId="fd83c4d6-c3dc-4f82-acc3-371ba73f1a60" providerId="ADAL" clId="{86E644F5-C5C5-44C5-AC53-9C786D080528}" dt="2023-03-03T05:54:02.221" v="2585" actId="20577"/>
        <pc:sldMkLst>
          <pc:docMk/>
          <pc:sldMk cId="243151290" sldId="634"/>
        </pc:sldMkLst>
        <pc:spChg chg="mod">
          <ac:chgData name="Bethineedi, Shasi Kiranmai" userId="fd83c4d6-c3dc-4f82-acc3-371ba73f1a60" providerId="ADAL" clId="{86E644F5-C5C5-44C5-AC53-9C786D080528}" dt="2023-03-03T05:51:39.234" v="2450" actId="6549"/>
          <ac:spMkLst>
            <pc:docMk/>
            <pc:sldMk cId="243151290" sldId="634"/>
            <ac:spMk id="2" creationId="{DB07A60A-5308-08DC-8E57-9C750FAF04AD}"/>
          </ac:spMkLst>
        </pc:spChg>
        <pc:spChg chg="add del mod">
          <ac:chgData name="Bethineedi, Shasi Kiranmai" userId="fd83c4d6-c3dc-4f82-acc3-371ba73f1a60" providerId="ADAL" clId="{86E644F5-C5C5-44C5-AC53-9C786D080528}" dt="2023-03-02T15:55:15.083" v="2428" actId="26606"/>
          <ac:spMkLst>
            <pc:docMk/>
            <pc:sldMk cId="243151290" sldId="634"/>
            <ac:spMk id="3" creationId="{002CE4A8-FFC2-AC05-175A-CFE79A974041}"/>
          </ac:spMkLst>
        </pc:spChg>
        <pc:spChg chg="del">
          <ac:chgData name="Bethineedi, Shasi Kiranmai" userId="fd83c4d6-c3dc-4f82-acc3-371ba73f1a60" providerId="ADAL" clId="{86E644F5-C5C5-44C5-AC53-9C786D080528}" dt="2023-03-02T15:54:10.470" v="2422" actId="21"/>
          <ac:spMkLst>
            <pc:docMk/>
            <pc:sldMk cId="243151290" sldId="634"/>
            <ac:spMk id="4" creationId="{986981A6-42CA-88C5-4AD9-D9354C786123}"/>
          </ac:spMkLst>
        </pc:spChg>
        <pc:spChg chg="add del mod">
          <ac:chgData name="Bethineedi, Shasi Kiranmai" userId="fd83c4d6-c3dc-4f82-acc3-371ba73f1a60" providerId="ADAL" clId="{86E644F5-C5C5-44C5-AC53-9C786D080528}" dt="2023-03-02T15:55:15.083" v="2428" actId="26606"/>
          <ac:spMkLst>
            <pc:docMk/>
            <pc:sldMk cId="243151290" sldId="634"/>
            <ac:spMk id="6" creationId="{58F3E3CF-305C-959F-3222-4A5E9981B626}"/>
          </ac:spMkLst>
        </pc:spChg>
        <pc:spChg chg="add del">
          <ac:chgData name="Bethineedi, Shasi Kiranmai" userId="fd83c4d6-c3dc-4f82-acc3-371ba73f1a60" providerId="ADAL" clId="{86E644F5-C5C5-44C5-AC53-9C786D080528}" dt="2023-03-02T15:55:15.060" v="2427" actId="26606"/>
          <ac:spMkLst>
            <pc:docMk/>
            <pc:sldMk cId="243151290" sldId="634"/>
            <ac:spMk id="12" creationId="{714BCAA9-789E-E995-0454-BCE2B3516494}"/>
          </ac:spMkLst>
        </pc:spChg>
        <pc:spChg chg="add del">
          <ac:chgData name="Bethineedi, Shasi Kiranmai" userId="fd83c4d6-c3dc-4f82-acc3-371ba73f1a60" providerId="ADAL" clId="{86E644F5-C5C5-44C5-AC53-9C786D080528}" dt="2023-03-02T15:55:20.194" v="2429" actId="21"/>
          <ac:spMkLst>
            <pc:docMk/>
            <pc:sldMk cId="243151290" sldId="634"/>
            <ac:spMk id="14" creationId="{50D90F67-CC26-A854-87E2-B32BB061F6B8}"/>
          </ac:spMkLst>
        </pc:spChg>
        <pc:graphicFrameChg chg="add del">
          <ac:chgData name="Bethineedi, Shasi Kiranmai" userId="fd83c4d6-c3dc-4f82-acc3-371ba73f1a60" providerId="ADAL" clId="{86E644F5-C5C5-44C5-AC53-9C786D080528}" dt="2023-03-02T15:55:15.060" v="2427" actId="26606"/>
          <ac:graphicFrameMkLst>
            <pc:docMk/>
            <pc:sldMk cId="243151290" sldId="634"/>
            <ac:graphicFrameMk id="8" creationId="{E7E569C7-09D7-73AF-D450-E9BF4FA9E31B}"/>
          </ac:graphicFrameMkLst>
        </pc:graphicFrameChg>
        <pc:graphicFrameChg chg="add del mod">
          <ac:chgData name="Bethineedi, Shasi Kiranmai" userId="fd83c4d6-c3dc-4f82-acc3-371ba73f1a60" providerId="ADAL" clId="{86E644F5-C5C5-44C5-AC53-9C786D080528}" dt="2023-03-03T05:54:02.221" v="2585" actId="20577"/>
          <ac:graphicFrameMkLst>
            <pc:docMk/>
            <pc:sldMk cId="243151290" sldId="634"/>
            <ac:graphicFrameMk id="15" creationId="{A51A4298-5417-E617-4C46-92A81128DEC5}"/>
          </ac:graphicFrameMkLst>
        </pc:graphicFrameChg>
      </pc:sldChg>
      <pc:sldChg chg="modSp add del mod">
        <pc:chgData name="Bethineedi, Shasi Kiranmai" userId="fd83c4d6-c3dc-4f82-acc3-371ba73f1a60" providerId="ADAL" clId="{86E644F5-C5C5-44C5-AC53-9C786D080528}" dt="2023-03-02T15:52:52.683" v="2412" actId="2696"/>
        <pc:sldMkLst>
          <pc:docMk/>
          <pc:sldMk cId="540302897" sldId="634"/>
        </pc:sldMkLst>
        <pc:spChg chg="mod">
          <ac:chgData name="Bethineedi, Shasi Kiranmai" userId="fd83c4d6-c3dc-4f82-acc3-371ba73f1a60" providerId="ADAL" clId="{86E644F5-C5C5-44C5-AC53-9C786D080528}" dt="2023-03-02T15:52:10.338" v="2411" actId="6549"/>
          <ac:spMkLst>
            <pc:docMk/>
            <pc:sldMk cId="540302897" sldId="634"/>
            <ac:spMk id="2" creationId="{64F64BD2-7E09-45E2-95C0-B3726BD6234A}"/>
          </ac:spMkLst>
        </pc:spChg>
      </pc:sldChg>
      <pc:sldChg chg="add del">
        <pc:chgData name="Bethineedi, Shasi Kiranmai" userId="fd83c4d6-c3dc-4f82-acc3-371ba73f1a60" providerId="ADAL" clId="{86E644F5-C5C5-44C5-AC53-9C786D080528}" dt="2023-03-02T15:53:07.951" v="2414" actId="2890"/>
        <pc:sldMkLst>
          <pc:docMk/>
          <pc:sldMk cId="1471870900" sldId="634"/>
        </pc:sldMkLst>
      </pc:sldChg>
      <pc:sldChg chg="add">
        <pc:chgData name="Bethineedi, Shasi Kiranmai" userId="fd83c4d6-c3dc-4f82-acc3-371ba73f1a60" providerId="ADAL" clId="{86E644F5-C5C5-44C5-AC53-9C786D080528}" dt="2023-03-03T06:35:53.183" v="2595"/>
        <pc:sldMkLst>
          <pc:docMk/>
          <pc:sldMk cId="25183984" sldId="635"/>
        </pc:sldMkLst>
      </pc:sldChg>
      <pc:sldChg chg="delSp modSp add del mod">
        <pc:chgData name="Bethineedi, Shasi Kiranmai" userId="fd83c4d6-c3dc-4f82-acc3-371ba73f1a60" providerId="ADAL" clId="{86E644F5-C5C5-44C5-AC53-9C786D080528}" dt="2023-03-03T06:35:49.067" v="2594" actId="2696"/>
        <pc:sldMkLst>
          <pc:docMk/>
          <pc:sldMk cId="1787511229" sldId="635"/>
        </pc:sldMkLst>
        <pc:spChg chg="del mod">
          <ac:chgData name="Bethineedi, Shasi Kiranmai" userId="fd83c4d6-c3dc-4f82-acc3-371ba73f1a60" providerId="ADAL" clId="{86E644F5-C5C5-44C5-AC53-9C786D080528}" dt="2023-03-03T06:35:29.257" v="2591" actId="21"/>
          <ac:spMkLst>
            <pc:docMk/>
            <pc:sldMk cId="1787511229" sldId="635"/>
            <ac:spMk id="2" creationId="{037692A0-4BAB-471C-89D5-57C9ED0D5AC3}"/>
          </ac:spMkLst>
        </pc:spChg>
        <pc:spChg chg="mod">
          <ac:chgData name="Bethineedi, Shasi Kiranmai" userId="fd83c4d6-c3dc-4f82-acc3-371ba73f1a60" providerId="ADAL" clId="{86E644F5-C5C5-44C5-AC53-9C786D080528}" dt="2023-03-03T06:35:35.483" v="2593" actId="20577"/>
          <ac:spMkLst>
            <pc:docMk/>
            <pc:sldMk cId="1787511229" sldId="635"/>
            <ac:spMk id="3" creationId="{1FCCB941-9A55-4FD8-A71B-74F653F5E2DF}"/>
          </ac:spMkLst>
        </pc:spChg>
      </pc:sldChg>
      <pc:sldMasterChg chg="addSldLayout delSldLayout">
        <pc:chgData name="Bethineedi, Shasi Kiranmai" userId="fd83c4d6-c3dc-4f82-acc3-371ba73f1a60" providerId="ADAL" clId="{86E644F5-C5C5-44C5-AC53-9C786D080528}" dt="2023-03-02T15:57:02.825" v="2439" actId="2696"/>
        <pc:sldMasterMkLst>
          <pc:docMk/>
          <pc:sldMasterMk cId="1470961969" sldId="2147483648"/>
        </pc:sldMasterMkLst>
        <pc:sldLayoutChg chg="del">
          <pc:chgData name="Bethineedi, Shasi Kiranmai" userId="fd83c4d6-c3dc-4f82-acc3-371ba73f1a60" providerId="ADAL" clId="{86E644F5-C5C5-44C5-AC53-9C786D080528}" dt="2023-02-28T15:39:44.030" v="588" actId="2696"/>
          <pc:sldLayoutMkLst>
            <pc:docMk/>
            <pc:sldMasterMk cId="1470961969" sldId="2147483648"/>
            <pc:sldLayoutMk cId="716987104" sldId="2147483732"/>
          </pc:sldLayoutMkLst>
        </pc:sldLayoutChg>
        <pc:sldLayoutChg chg="del">
          <pc:chgData name="Bethineedi, Shasi Kiranmai" userId="fd83c4d6-c3dc-4f82-acc3-371ba73f1a60" providerId="ADAL" clId="{86E644F5-C5C5-44C5-AC53-9C786D080528}" dt="2023-02-28T15:37:25.778" v="584" actId="2696"/>
          <pc:sldLayoutMkLst>
            <pc:docMk/>
            <pc:sldMasterMk cId="1470961969" sldId="2147483648"/>
            <pc:sldLayoutMk cId="1849545395" sldId="2147483793"/>
          </pc:sldLayoutMkLst>
        </pc:sldLayoutChg>
        <pc:sldLayoutChg chg="add del">
          <pc:chgData name="Bethineedi, Shasi Kiranmai" userId="fd83c4d6-c3dc-4f82-acc3-371ba73f1a60" providerId="ADAL" clId="{86E644F5-C5C5-44C5-AC53-9C786D080528}" dt="2023-03-02T15:57:02.825" v="2439" actId="2696"/>
          <pc:sldLayoutMkLst>
            <pc:docMk/>
            <pc:sldMasterMk cId="1470961969" sldId="2147483648"/>
            <pc:sldLayoutMk cId="518334914" sldId="2147483806"/>
          </pc:sldLayoutMkLst>
        </pc:sldLayoutChg>
      </pc:sldMasterChg>
    </pc:docChg>
  </pc:docChgLst>
  <pc:docChgLst>
    <pc:chgData name="BESTHA, SRIHARI" userId="907299e1-8949-41ac-873d-9ae32d863366" providerId="ADAL" clId="{5FFF2A21-540B-4270-8A89-819264057D4A}"/>
    <pc:docChg chg="modSld">
      <pc:chgData name="BESTHA, SRIHARI" userId="907299e1-8949-41ac-873d-9ae32d863366" providerId="ADAL" clId="{5FFF2A21-540B-4270-8A89-819264057D4A}" dt="2024-08-26T06:59:38.029" v="3" actId="20577"/>
      <pc:docMkLst>
        <pc:docMk/>
      </pc:docMkLst>
      <pc:sldChg chg="modSp mod">
        <pc:chgData name="BESTHA, SRIHARI" userId="907299e1-8949-41ac-873d-9ae32d863366" providerId="ADAL" clId="{5FFF2A21-540B-4270-8A89-819264057D4A}" dt="2024-08-26T06:59:38.029" v="3" actId="20577"/>
        <pc:sldMkLst>
          <pc:docMk/>
          <pc:sldMk cId="834419491" sldId="603"/>
        </pc:sldMkLst>
        <pc:spChg chg="mod">
          <ac:chgData name="BESTHA, SRIHARI" userId="907299e1-8949-41ac-873d-9ae32d863366" providerId="ADAL" clId="{5FFF2A21-540B-4270-8A89-819264057D4A}" dt="2024-08-26T06:59:38.029" v="3" actId="20577"/>
          <ac:spMkLst>
            <pc:docMk/>
            <pc:sldMk cId="834419491" sldId="603"/>
            <ac:spMk id="3" creationId="{1FCCB941-9A55-4FD8-A71B-74F653F5E2DF}"/>
          </ac:spMkLst>
        </pc:spChg>
      </pc:sldChg>
    </pc:docChg>
  </pc:docChgLst>
</pc:chgInfo>
</file>

<file path=ppt/diagrams/_rels/data3.xml.rels><?xml version="1.0" encoding="UTF-8" standalone="yes"?>
<Relationships xmlns="http://schemas.openxmlformats.org/package/2006/relationships"><Relationship Id="rId1" Type="http://schemas.openxmlformats.org/officeDocument/2006/relationships/hyperlink" Target="https://console.aws.amazon.com/ec2" TargetMode="External"/></Relationships>
</file>

<file path=ppt/diagrams/_rels/data5.xml.rels><?xml version="1.0" encoding="UTF-8" standalone="yes"?>
<Relationships xmlns="http://schemas.openxmlformats.org/package/2006/relationships"><Relationship Id="rId2" Type="http://schemas.openxmlformats.org/officeDocument/2006/relationships/hyperlink" Target="https://console.aws.amazon.com/iam/home" TargetMode="External"/><Relationship Id="rId1" Type="http://schemas.openxmlformats.org/officeDocument/2006/relationships/hyperlink" Target="https://docs.aws.amazon.com/toolkit-for-eclipse/v1/user-guide/lambda-tutorial.html"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console.aws.amazon.com/ec2" TargetMode="External"/></Relationships>
</file>

<file path=ppt/diagrams/_rels/drawing5.xml.rels><?xml version="1.0" encoding="UTF-8" standalone="yes"?>
<Relationships xmlns="http://schemas.openxmlformats.org/package/2006/relationships"><Relationship Id="rId2" Type="http://schemas.openxmlformats.org/officeDocument/2006/relationships/hyperlink" Target="https://console.aws.amazon.com/iam/home" TargetMode="External"/><Relationship Id="rId1" Type="http://schemas.openxmlformats.org/officeDocument/2006/relationships/hyperlink" Target="https://docs.aws.amazon.com/toolkit-for-eclipse/v1/user-guide/lambda-tutorial.html"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FCC408-BD3E-491B-B12B-034E1207A1AC}" type="doc">
      <dgm:prSet loTypeId="urn:microsoft.com/office/officeart/2005/8/layout/default" loCatId="list" qsTypeId="urn:microsoft.com/office/officeart/2005/8/quickstyle/simple4" qsCatId="simple" csTypeId="urn:microsoft.com/office/officeart/2005/8/colors/accent2_2" csCatId="accent2" phldr="1"/>
      <dgm:spPr/>
      <dgm:t>
        <a:bodyPr/>
        <a:lstStyle/>
        <a:p>
          <a:endParaRPr lang="en-US"/>
        </a:p>
      </dgm:t>
    </dgm:pt>
    <dgm:pt modelId="{AA06F84D-9614-4364-8D54-54AD4535FD9F}">
      <dgm:prSet/>
      <dgm:spPr/>
      <dgm:t>
        <a:bodyPr/>
        <a:lstStyle/>
        <a:p>
          <a:r>
            <a:rPr lang="en-US" dirty="0"/>
            <a:t>Solution Creation by using Textract AWS services </a:t>
          </a:r>
        </a:p>
      </dgm:t>
    </dgm:pt>
    <dgm:pt modelId="{E9476613-B2C7-4E5F-A8F8-92E6D1D81E5B}" type="parTrans" cxnId="{0B1DA610-EE52-486D-8246-2D8BA477C116}">
      <dgm:prSet/>
      <dgm:spPr/>
      <dgm:t>
        <a:bodyPr/>
        <a:lstStyle/>
        <a:p>
          <a:endParaRPr lang="en-US"/>
        </a:p>
      </dgm:t>
    </dgm:pt>
    <dgm:pt modelId="{FF443830-4DAC-4C4E-831D-399FBDFF7694}" type="sibTrans" cxnId="{0B1DA610-EE52-486D-8246-2D8BA477C116}">
      <dgm:prSet/>
      <dgm:spPr/>
      <dgm:t>
        <a:bodyPr/>
        <a:lstStyle/>
        <a:p>
          <a:endParaRPr lang="en-US"/>
        </a:p>
      </dgm:t>
    </dgm:pt>
    <dgm:pt modelId="{B75CF609-7740-43C1-B13B-D249C9931019}">
      <dgm:prSet/>
      <dgm:spPr/>
      <dgm:t>
        <a:bodyPr/>
        <a:lstStyle/>
        <a:p>
          <a:r>
            <a:rPr lang="en-US"/>
            <a:t>Pre-requisites</a:t>
          </a:r>
        </a:p>
      </dgm:t>
    </dgm:pt>
    <dgm:pt modelId="{D8F94FB6-4870-459A-898D-307791845650}" type="parTrans" cxnId="{9924404C-11C1-42E0-B6A3-EEC58B5B2EDB}">
      <dgm:prSet/>
      <dgm:spPr/>
      <dgm:t>
        <a:bodyPr/>
        <a:lstStyle/>
        <a:p>
          <a:endParaRPr lang="en-US"/>
        </a:p>
      </dgm:t>
    </dgm:pt>
    <dgm:pt modelId="{B180F186-2F85-411B-B799-22168D8B24EB}" type="sibTrans" cxnId="{9924404C-11C1-42E0-B6A3-EEC58B5B2EDB}">
      <dgm:prSet/>
      <dgm:spPr/>
      <dgm:t>
        <a:bodyPr/>
        <a:lstStyle/>
        <a:p>
          <a:endParaRPr lang="en-US"/>
        </a:p>
      </dgm:t>
    </dgm:pt>
    <dgm:pt modelId="{20021F38-94BD-432A-BCBC-B7961E3FA25B}">
      <dgm:prSet/>
      <dgm:spPr/>
      <dgm:t>
        <a:bodyPr/>
        <a:lstStyle/>
        <a:p>
          <a:r>
            <a:rPr lang="en-IN"/>
            <a:t>AWS account creation</a:t>
          </a:r>
          <a:endParaRPr lang="en-US"/>
        </a:p>
      </dgm:t>
    </dgm:pt>
    <dgm:pt modelId="{A7DFAB79-2B34-4D71-A436-BC887D6DE017}" type="parTrans" cxnId="{6B06297A-4FE2-43E3-B537-D0194C4A9D3C}">
      <dgm:prSet/>
      <dgm:spPr/>
      <dgm:t>
        <a:bodyPr/>
        <a:lstStyle/>
        <a:p>
          <a:endParaRPr lang="en-US"/>
        </a:p>
      </dgm:t>
    </dgm:pt>
    <dgm:pt modelId="{C8D9103D-FF30-4D4B-8089-42269051B566}" type="sibTrans" cxnId="{6B06297A-4FE2-43E3-B537-D0194C4A9D3C}">
      <dgm:prSet/>
      <dgm:spPr/>
      <dgm:t>
        <a:bodyPr/>
        <a:lstStyle/>
        <a:p>
          <a:endParaRPr lang="en-US"/>
        </a:p>
      </dgm:t>
    </dgm:pt>
    <dgm:pt modelId="{41634910-D6FA-4193-97B7-92F084F4D31A}">
      <dgm:prSet/>
      <dgm:spPr/>
      <dgm:t>
        <a:bodyPr/>
        <a:lstStyle/>
        <a:p>
          <a:r>
            <a:rPr lang="en-IN" dirty="0"/>
            <a:t>EC2 Instance- virtual machine</a:t>
          </a:r>
          <a:endParaRPr lang="en-US" dirty="0"/>
        </a:p>
      </dgm:t>
    </dgm:pt>
    <dgm:pt modelId="{B29CC18A-70C0-4081-96C6-B1E1B8B9B55D}" type="parTrans" cxnId="{91039C8B-D450-4F3E-B4F3-FB9EABF75D97}">
      <dgm:prSet/>
      <dgm:spPr/>
      <dgm:t>
        <a:bodyPr/>
        <a:lstStyle/>
        <a:p>
          <a:endParaRPr lang="en-US"/>
        </a:p>
      </dgm:t>
    </dgm:pt>
    <dgm:pt modelId="{86AA8EF0-C2BC-4CED-AFBF-94AD96DA972B}" type="sibTrans" cxnId="{91039C8B-D450-4F3E-B4F3-FB9EABF75D97}">
      <dgm:prSet/>
      <dgm:spPr/>
      <dgm:t>
        <a:bodyPr/>
        <a:lstStyle/>
        <a:p>
          <a:endParaRPr lang="en-US"/>
        </a:p>
      </dgm:t>
    </dgm:pt>
    <dgm:pt modelId="{9BBA798D-A7CE-41A2-8022-E8D5B2B04EC4}">
      <dgm:prSet/>
      <dgm:spPr/>
      <dgm:t>
        <a:bodyPr/>
        <a:lstStyle/>
        <a:p>
          <a:r>
            <a:rPr lang="en-IN"/>
            <a:t>Lambda-service</a:t>
          </a:r>
          <a:endParaRPr lang="en-US"/>
        </a:p>
      </dgm:t>
    </dgm:pt>
    <dgm:pt modelId="{089FD72C-95B8-4603-8DF0-ED98F2C89681}" type="parTrans" cxnId="{132CF683-4440-4A6E-A124-15CA16FE0F04}">
      <dgm:prSet/>
      <dgm:spPr/>
      <dgm:t>
        <a:bodyPr/>
        <a:lstStyle/>
        <a:p>
          <a:endParaRPr lang="en-US"/>
        </a:p>
      </dgm:t>
    </dgm:pt>
    <dgm:pt modelId="{C6E7C1AD-FB7D-412F-B94C-47BC206ED2C3}" type="sibTrans" cxnId="{132CF683-4440-4A6E-A124-15CA16FE0F04}">
      <dgm:prSet/>
      <dgm:spPr/>
      <dgm:t>
        <a:bodyPr/>
        <a:lstStyle/>
        <a:p>
          <a:endParaRPr lang="en-US"/>
        </a:p>
      </dgm:t>
    </dgm:pt>
    <dgm:pt modelId="{A32F1878-9518-418F-B368-AD5B506FCB70}">
      <dgm:prSet/>
      <dgm:spPr/>
      <dgm:t>
        <a:bodyPr/>
        <a:lstStyle/>
        <a:p>
          <a:r>
            <a:rPr lang="en-IN"/>
            <a:t>IAM- Identity access management –service</a:t>
          </a:r>
          <a:endParaRPr lang="en-US"/>
        </a:p>
      </dgm:t>
    </dgm:pt>
    <dgm:pt modelId="{FDB924D8-6E40-4820-A945-296DA2A0D251}" type="parTrans" cxnId="{AAA8349F-71EB-403F-A765-840A110C05B5}">
      <dgm:prSet/>
      <dgm:spPr/>
      <dgm:t>
        <a:bodyPr/>
        <a:lstStyle/>
        <a:p>
          <a:endParaRPr lang="en-US"/>
        </a:p>
      </dgm:t>
    </dgm:pt>
    <dgm:pt modelId="{58511772-61D6-47F9-B83E-44CE68DAC7F5}" type="sibTrans" cxnId="{AAA8349F-71EB-403F-A765-840A110C05B5}">
      <dgm:prSet/>
      <dgm:spPr/>
      <dgm:t>
        <a:bodyPr/>
        <a:lstStyle/>
        <a:p>
          <a:endParaRPr lang="en-US"/>
        </a:p>
      </dgm:t>
    </dgm:pt>
    <dgm:pt modelId="{F978A42A-68FF-488C-ADB5-9519C0B31C13}">
      <dgm:prSet/>
      <dgm:spPr/>
      <dgm:t>
        <a:bodyPr/>
        <a:lstStyle/>
        <a:p>
          <a:r>
            <a:rPr lang="en-IN" dirty="0"/>
            <a:t>S3bucket-storage(drive)</a:t>
          </a:r>
          <a:br>
            <a:rPr lang="en-IN" dirty="0"/>
          </a:br>
          <a:endParaRPr lang="en-US" dirty="0"/>
        </a:p>
      </dgm:t>
    </dgm:pt>
    <dgm:pt modelId="{01AA74B6-C7C0-4C6D-8CAC-A1E932912ABF}" type="parTrans" cxnId="{5E6DF92B-E6A8-4F08-A37A-361366C1B7B2}">
      <dgm:prSet/>
      <dgm:spPr/>
      <dgm:t>
        <a:bodyPr/>
        <a:lstStyle/>
        <a:p>
          <a:endParaRPr lang="en-US"/>
        </a:p>
      </dgm:t>
    </dgm:pt>
    <dgm:pt modelId="{FB37095A-6B0D-4544-A08F-C27770C50FCB}" type="sibTrans" cxnId="{5E6DF92B-E6A8-4F08-A37A-361366C1B7B2}">
      <dgm:prSet/>
      <dgm:spPr/>
      <dgm:t>
        <a:bodyPr/>
        <a:lstStyle/>
        <a:p>
          <a:endParaRPr lang="en-US"/>
        </a:p>
      </dgm:t>
    </dgm:pt>
    <dgm:pt modelId="{B554BF68-6D60-427F-8D7D-166011DA6521}" type="pres">
      <dgm:prSet presAssocID="{DDFCC408-BD3E-491B-B12B-034E1207A1AC}" presName="diagram" presStyleCnt="0">
        <dgm:presLayoutVars>
          <dgm:dir/>
          <dgm:resizeHandles val="exact"/>
        </dgm:presLayoutVars>
      </dgm:prSet>
      <dgm:spPr/>
    </dgm:pt>
    <dgm:pt modelId="{3E811A8C-43F1-4FC3-831E-AEC120FCF2AC}" type="pres">
      <dgm:prSet presAssocID="{AA06F84D-9614-4364-8D54-54AD4535FD9F}" presName="node" presStyleLbl="node1" presStyleIdx="0" presStyleCnt="2">
        <dgm:presLayoutVars>
          <dgm:bulletEnabled val="1"/>
        </dgm:presLayoutVars>
      </dgm:prSet>
      <dgm:spPr/>
    </dgm:pt>
    <dgm:pt modelId="{E169D558-DCBD-41CA-A6A6-369B2FF1E0C8}" type="pres">
      <dgm:prSet presAssocID="{FF443830-4DAC-4C4E-831D-399FBDFF7694}" presName="sibTrans" presStyleCnt="0"/>
      <dgm:spPr/>
    </dgm:pt>
    <dgm:pt modelId="{F3068450-3D04-4830-B4AC-1F2C2048F4CB}" type="pres">
      <dgm:prSet presAssocID="{B75CF609-7740-43C1-B13B-D249C9931019}" presName="node" presStyleLbl="node1" presStyleIdx="1" presStyleCnt="2">
        <dgm:presLayoutVars>
          <dgm:bulletEnabled val="1"/>
        </dgm:presLayoutVars>
      </dgm:prSet>
      <dgm:spPr/>
    </dgm:pt>
  </dgm:ptLst>
  <dgm:cxnLst>
    <dgm:cxn modelId="{0B1DA610-EE52-486D-8246-2D8BA477C116}" srcId="{DDFCC408-BD3E-491B-B12B-034E1207A1AC}" destId="{AA06F84D-9614-4364-8D54-54AD4535FD9F}" srcOrd="0" destOrd="0" parTransId="{E9476613-B2C7-4E5F-A8F8-92E6D1D81E5B}" sibTransId="{FF443830-4DAC-4C4E-831D-399FBDFF7694}"/>
    <dgm:cxn modelId="{52898123-9FF6-4D3B-94D9-B37CBF6DAD05}" type="presOf" srcId="{9BBA798D-A7CE-41A2-8022-E8D5B2B04EC4}" destId="{F3068450-3D04-4830-B4AC-1F2C2048F4CB}" srcOrd="0" destOrd="3" presId="urn:microsoft.com/office/officeart/2005/8/layout/default"/>
    <dgm:cxn modelId="{5E6DF92B-E6A8-4F08-A37A-361366C1B7B2}" srcId="{B75CF609-7740-43C1-B13B-D249C9931019}" destId="{F978A42A-68FF-488C-ADB5-9519C0B31C13}" srcOrd="4" destOrd="0" parTransId="{01AA74B6-C7C0-4C6D-8CAC-A1E932912ABF}" sibTransId="{FB37095A-6B0D-4544-A08F-C27770C50FCB}"/>
    <dgm:cxn modelId="{526AA964-4C36-4846-80AD-A6F9587624A4}" type="presOf" srcId="{A32F1878-9518-418F-B368-AD5B506FCB70}" destId="{F3068450-3D04-4830-B4AC-1F2C2048F4CB}" srcOrd="0" destOrd="4" presId="urn:microsoft.com/office/officeart/2005/8/layout/default"/>
    <dgm:cxn modelId="{32248646-2367-4D46-935B-0C0A25CBDBD1}" type="presOf" srcId="{20021F38-94BD-432A-BCBC-B7961E3FA25B}" destId="{F3068450-3D04-4830-B4AC-1F2C2048F4CB}" srcOrd="0" destOrd="1" presId="urn:microsoft.com/office/officeart/2005/8/layout/default"/>
    <dgm:cxn modelId="{86F31F67-08BF-4379-8C38-11843C0926AD}" type="presOf" srcId="{AA06F84D-9614-4364-8D54-54AD4535FD9F}" destId="{3E811A8C-43F1-4FC3-831E-AEC120FCF2AC}" srcOrd="0" destOrd="0" presId="urn:microsoft.com/office/officeart/2005/8/layout/default"/>
    <dgm:cxn modelId="{6ADA2C67-14F7-484A-AAFB-9D4A6625E1DA}" type="presOf" srcId="{B75CF609-7740-43C1-B13B-D249C9931019}" destId="{F3068450-3D04-4830-B4AC-1F2C2048F4CB}" srcOrd="0" destOrd="0" presId="urn:microsoft.com/office/officeart/2005/8/layout/default"/>
    <dgm:cxn modelId="{9924404C-11C1-42E0-B6A3-EEC58B5B2EDB}" srcId="{DDFCC408-BD3E-491B-B12B-034E1207A1AC}" destId="{B75CF609-7740-43C1-B13B-D249C9931019}" srcOrd="1" destOrd="0" parTransId="{D8F94FB6-4870-459A-898D-307791845650}" sibTransId="{B180F186-2F85-411B-B799-22168D8B24EB}"/>
    <dgm:cxn modelId="{6B06297A-4FE2-43E3-B537-D0194C4A9D3C}" srcId="{B75CF609-7740-43C1-B13B-D249C9931019}" destId="{20021F38-94BD-432A-BCBC-B7961E3FA25B}" srcOrd="0" destOrd="0" parTransId="{A7DFAB79-2B34-4D71-A436-BC887D6DE017}" sibTransId="{C8D9103D-FF30-4D4B-8089-42269051B566}"/>
    <dgm:cxn modelId="{132CF683-4440-4A6E-A124-15CA16FE0F04}" srcId="{B75CF609-7740-43C1-B13B-D249C9931019}" destId="{9BBA798D-A7CE-41A2-8022-E8D5B2B04EC4}" srcOrd="2" destOrd="0" parTransId="{089FD72C-95B8-4603-8DF0-ED98F2C89681}" sibTransId="{C6E7C1AD-FB7D-412F-B94C-47BC206ED2C3}"/>
    <dgm:cxn modelId="{91039C8B-D450-4F3E-B4F3-FB9EABF75D97}" srcId="{B75CF609-7740-43C1-B13B-D249C9931019}" destId="{41634910-D6FA-4193-97B7-92F084F4D31A}" srcOrd="1" destOrd="0" parTransId="{B29CC18A-70C0-4081-96C6-B1E1B8B9B55D}" sibTransId="{86AA8EF0-C2BC-4CED-AFBF-94AD96DA972B}"/>
    <dgm:cxn modelId="{B3105F99-8B42-4CE1-8F83-FF42FB2F984A}" type="presOf" srcId="{DDFCC408-BD3E-491B-B12B-034E1207A1AC}" destId="{B554BF68-6D60-427F-8D7D-166011DA6521}" srcOrd="0" destOrd="0" presId="urn:microsoft.com/office/officeart/2005/8/layout/default"/>
    <dgm:cxn modelId="{AAA8349F-71EB-403F-A765-840A110C05B5}" srcId="{B75CF609-7740-43C1-B13B-D249C9931019}" destId="{A32F1878-9518-418F-B368-AD5B506FCB70}" srcOrd="3" destOrd="0" parTransId="{FDB924D8-6E40-4820-A945-296DA2A0D251}" sibTransId="{58511772-61D6-47F9-B83E-44CE68DAC7F5}"/>
    <dgm:cxn modelId="{CB0737DA-A498-43C5-ACE7-9DD7BB6911A3}" type="presOf" srcId="{F978A42A-68FF-488C-ADB5-9519C0B31C13}" destId="{F3068450-3D04-4830-B4AC-1F2C2048F4CB}" srcOrd="0" destOrd="5" presId="urn:microsoft.com/office/officeart/2005/8/layout/default"/>
    <dgm:cxn modelId="{A1ECBBEE-155F-4CEF-91E8-C7F16FCF064A}" type="presOf" srcId="{41634910-D6FA-4193-97B7-92F084F4D31A}" destId="{F3068450-3D04-4830-B4AC-1F2C2048F4CB}" srcOrd="0" destOrd="2" presId="urn:microsoft.com/office/officeart/2005/8/layout/default"/>
    <dgm:cxn modelId="{3ADEA118-D9A5-41C1-A94E-0463B4964696}" type="presParOf" srcId="{B554BF68-6D60-427F-8D7D-166011DA6521}" destId="{3E811A8C-43F1-4FC3-831E-AEC120FCF2AC}" srcOrd="0" destOrd="0" presId="urn:microsoft.com/office/officeart/2005/8/layout/default"/>
    <dgm:cxn modelId="{AC1A6AB9-3FAA-48A0-82AE-760CE1A404C7}" type="presParOf" srcId="{B554BF68-6D60-427F-8D7D-166011DA6521}" destId="{E169D558-DCBD-41CA-A6A6-369B2FF1E0C8}" srcOrd="1" destOrd="0" presId="urn:microsoft.com/office/officeart/2005/8/layout/default"/>
    <dgm:cxn modelId="{F5DE5449-4FB6-4207-B9A2-A9C99D9FBCF2}" type="presParOf" srcId="{B554BF68-6D60-427F-8D7D-166011DA6521}" destId="{F3068450-3D04-4830-B4AC-1F2C2048F4CB}"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DFCC408-BD3E-491B-B12B-034E1207A1AC}" type="doc">
      <dgm:prSet loTypeId="urn:microsoft.com/office/officeart/2005/8/layout/vList5" loCatId="list" qsTypeId="urn:microsoft.com/office/officeart/2005/8/quickstyle/simple5" qsCatId="simple" csTypeId="urn:microsoft.com/office/officeart/2005/8/colors/accent3_2" csCatId="accent3" phldr="1"/>
      <dgm:spPr/>
      <dgm:t>
        <a:bodyPr/>
        <a:lstStyle/>
        <a:p>
          <a:endParaRPr lang="en-US"/>
        </a:p>
      </dgm:t>
    </dgm:pt>
    <dgm:pt modelId="{4353463E-20A3-4AD6-85C1-028FA0D449D1}">
      <dgm:prSet/>
      <dgm:spPr/>
      <dgm:t>
        <a:bodyPr/>
        <a:lstStyle/>
        <a:p>
          <a:r>
            <a:rPr lang="en-US"/>
            <a:t>Creating AWS account</a:t>
          </a:r>
          <a:br>
            <a:rPr lang="en-US"/>
          </a:br>
          <a:endParaRPr lang="en-US" dirty="0"/>
        </a:p>
      </dgm:t>
    </dgm:pt>
    <dgm:pt modelId="{ABEED0C3-F8A0-44A8-BDA4-7585D6FB061E}" type="parTrans" cxnId="{CDA6F66B-75C9-4940-BE84-FF46D3833E8E}">
      <dgm:prSet/>
      <dgm:spPr/>
      <dgm:t>
        <a:bodyPr/>
        <a:lstStyle/>
        <a:p>
          <a:endParaRPr lang="en-IN"/>
        </a:p>
      </dgm:t>
    </dgm:pt>
    <dgm:pt modelId="{271D08C5-E3C8-4E49-806E-BE1ACE124976}" type="sibTrans" cxnId="{CDA6F66B-75C9-4940-BE84-FF46D3833E8E}">
      <dgm:prSet/>
      <dgm:spPr/>
      <dgm:t>
        <a:bodyPr/>
        <a:lstStyle/>
        <a:p>
          <a:endParaRPr lang="en-IN"/>
        </a:p>
      </dgm:t>
    </dgm:pt>
    <dgm:pt modelId="{A531E626-3FA5-4A89-8744-1C162A76001E}">
      <dgm:prSet/>
      <dgm:spPr/>
      <dgm:t>
        <a:bodyPr/>
        <a:lstStyle/>
        <a:p>
          <a:r>
            <a:rPr lang="en-IN" b="0" i="0">
              <a:effectLst/>
            </a:rPr>
            <a:t>Open the Amazon Web Services home page </a:t>
          </a:r>
        </a:p>
      </dgm:t>
    </dgm:pt>
    <dgm:pt modelId="{A770674B-478D-4D35-9424-679EDD8E8133}" type="parTrans" cxnId="{BC530329-A963-41D5-8D08-11D92A366E14}">
      <dgm:prSet/>
      <dgm:spPr/>
      <dgm:t>
        <a:bodyPr/>
        <a:lstStyle/>
        <a:p>
          <a:endParaRPr lang="en-IN"/>
        </a:p>
      </dgm:t>
    </dgm:pt>
    <dgm:pt modelId="{5036CE2B-3810-48A9-BBFC-341D48CD2CD7}" type="sibTrans" cxnId="{BC530329-A963-41D5-8D08-11D92A366E14}">
      <dgm:prSet/>
      <dgm:spPr/>
      <dgm:t>
        <a:bodyPr/>
        <a:lstStyle/>
        <a:p>
          <a:endParaRPr lang="en-IN"/>
        </a:p>
      </dgm:t>
    </dgm:pt>
    <dgm:pt modelId="{40F3C81F-1E32-4A99-86BB-F62942E87E50}">
      <dgm:prSet/>
      <dgm:spPr/>
      <dgm:t>
        <a:bodyPr/>
        <a:lstStyle/>
        <a:p>
          <a:r>
            <a:rPr lang="en-IN" b="0" i="0">
              <a:effectLst/>
            </a:rPr>
            <a:t>Choose Create an AWS account</a:t>
          </a:r>
        </a:p>
      </dgm:t>
    </dgm:pt>
    <dgm:pt modelId="{B2310E80-14BF-4353-97B9-4E41FDE63FFB}" type="parTrans" cxnId="{9FA499B5-219B-4636-9431-2BFBBF79BA34}">
      <dgm:prSet/>
      <dgm:spPr/>
      <dgm:t>
        <a:bodyPr/>
        <a:lstStyle/>
        <a:p>
          <a:endParaRPr lang="en-IN"/>
        </a:p>
      </dgm:t>
    </dgm:pt>
    <dgm:pt modelId="{88E3DAEC-C8CD-4411-BE23-3C712C885688}" type="sibTrans" cxnId="{9FA499B5-219B-4636-9431-2BFBBF79BA34}">
      <dgm:prSet/>
      <dgm:spPr/>
      <dgm:t>
        <a:bodyPr/>
        <a:lstStyle/>
        <a:p>
          <a:endParaRPr lang="en-IN"/>
        </a:p>
      </dgm:t>
    </dgm:pt>
    <dgm:pt modelId="{818D701F-453B-4AA7-BF19-A316564FC5AD}">
      <dgm:prSet/>
      <dgm:spPr/>
      <dgm:t>
        <a:bodyPr/>
        <a:lstStyle/>
        <a:p>
          <a:r>
            <a:rPr lang="en-IN" b="0" i="0" dirty="0">
              <a:effectLst/>
            </a:rPr>
            <a:t>Enter your account information, and then choose Continue</a:t>
          </a:r>
        </a:p>
      </dgm:t>
    </dgm:pt>
    <dgm:pt modelId="{E59E8052-E67C-49A3-8039-5E08046F3680}" type="parTrans" cxnId="{DC5A2DB4-0D94-43B1-85BB-A5260C7FF0FB}">
      <dgm:prSet/>
      <dgm:spPr/>
      <dgm:t>
        <a:bodyPr/>
        <a:lstStyle/>
        <a:p>
          <a:endParaRPr lang="en-IN"/>
        </a:p>
      </dgm:t>
    </dgm:pt>
    <dgm:pt modelId="{99B67126-4B6D-4BD2-BF38-61722BB93458}" type="sibTrans" cxnId="{DC5A2DB4-0D94-43B1-85BB-A5260C7FF0FB}">
      <dgm:prSet/>
      <dgm:spPr/>
      <dgm:t>
        <a:bodyPr/>
        <a:lstStyle/>
        <a:p>
          <a:endParaRPr lang="en-IN"/>
        </a:p>
      </dgm:t>
    </dgm:pt>
    <dgm:pt modelId="{86585008-06AA-4624-B28D-6320D8BACBE6}">
      <dgm:prSet/>
      <dgm:spPr/>
      <dgm:t>
        <a:bodyPr/>
        <a:lstStyle/>
        <a:p>
          <a:r>
            <a:rPr lang="en-IN" b="0" i="0">
              <a:effectLst/>
            </a:rPr>
            <a:t>Choose Personal or Professional</a:t>
          </a:r>
        </a:p>
      </dgm:t>
    </dgm:pt>
    <dgm:pt modelId="{18371C0E-A9CA-4227-BD84-FA152FA2C704}" type="parTrans" cxnId="{1F68B450-551D-4CA5-B12D-3F08A356A6E4}">
      <dgm:prSet/>
      <dgm:spPr/>
      <dgm:t>
        <a:bodyPr/>
        <a:lstStyle/>
        <a:p>
          <a:endParaRPr lang="en-IN"/>
        </a:p>
      </dgm:t>
    </dgm:pt>
    <dgm:pt modelId="{79268E31-3F46-4544-88C4-1CF38D76E4B3}" type="sibTrans" cxnId="{1F68B450-551D-4CA5-B12D-3F08A356A6E4}">
      <dgm:prSet/>
      <dgm:spPr/>
      <dgm:t>
        <a:bodyPr/>
        <a:lstStyle/>
        <a:p>
          <a:endParaRPr lang="en-IN"/>
        </a:p>
      </dgm:t>
    </dgm:pt>
    <dgm:pt modelId="{47D57038-A3F8-4CB5-BC5F-BD359521B64E}">
      <dgm:prSet/>
      <dgm:spPr/>
      <dgm:t>
        <a:bodyPr/>
        <a:lstStyle/>
        <a:p>
          <a:r>
            <a:rPr lang="en-IN" b="0" i="0">
              <a:effectLst/>
            </a:rPr>
            <a:t>Enter your company or personal information</a:t>
          </a:r>
        </a:p>
      </dgm:t>
    </dgm:pt>
    <dgm:pt modelId="{D41BECE3-AA7E-446A-A492-174740CCA032}" type="parTrans" cxnId="{EF05EE78-181C-459E-AEDE-D7A63494A44F}">
      <dgm:prSet/>
      <dgm:spPr/>
      <dgm:t>
        <a:bodyPr/>
        <a:lstStyle/>
        <a:p>
          <a:endParaRPr lang="en-IN"/>
        </a:p>
      </dgm:t>
    </dgm:pt>
    <dgm:pt modelId="{78B2A251-4208-4FE2-A2A3-C77E5BBA6752}" type="sibTrans" cxnId="{EF05EE78-181C-459E-AEDE-D7A63494A44F}">
      <dgm:prSet/>
      <dgm:spPr/>
      <dgm:t>
        <a:bodyPr/>
        <a:lstStyle/>
        <a:p>
          <a:endParaRPr lang="en-IN"/>
        </a:p>
      </dgm:t>
    </dgm:pt>
    <dgm:pt modelId="{2984556E-BC08-4EAE-B1F2-EB340835B681}">
      <dgm:prSet/>
      <dgm:spPr/>
      <dgm:t>
        <a:bodyPr/>
        <a:lstStyle/>
        <a:p>
          <a:r>
            <a:rPr lang="en-IN" b="0" i="0">
              <a:effectLst/>
            </a:rPr>
            <a:t>Read and accept the AWS Customer Agreement </a:t>
          </a:r>
        </a:p>
      </dgm:t>
    </dgm:pt>
    <dgm:pt modelId="{C9DA58F4-D6EB-4588-8540-5A60E4299B72}" type="parTrans" cxnId="{D96C25C0-33AC-4285-BEDE-86B1D75D5817}">
      <dgm:prSet/>
      <dgm:spPr/>
      <dgm:t>
        <a:bodyPr/>
        <a:lstStyle/>
        <a:p>
          <a:endParaRPr lang="en-IN"/>
        </a:p>
      </dgm:t>
    </dgm:pt>
    <dgm:pt modelId="{F3CDF083-EF76-4BD3-A74E-824442C2E8E8}" type="sibTrans" cxnId="{D96C25C0-33AC-4285-BEDE-86B1D75D5817}">
      <dgm:prSet/>
      <dgm:spPr/>
      <dgm:t>
        <a:bodyPr/>
        <a:lstStyle/>
        <a:p>
          <a:endParaRPr lang="en-IN"/>
        </a:p>
      </dgm:t>
    </dgm:pt>
    <dgm:pt modelId="{17FF2E83-06BD-4A2A-B03C-D98180988A8A}">
      <dgm:prSet/>
      <dgm:spPr/>
      <dgm:t>
        <a:bodyPr/>
        <a:lstStyle/>
        <a:p>
          <a:r>
            <a:rPr lang="en-IN" b="0" i="0">
              <a:effectLst/>
            </a:rPr>
            <a:t>Choose Create Account and Continue</a:t>
          </a:r>
          <a:endParaRPr lang="en-IN" b="0" i="0">
            <a:effectLst/>
            <a:latin typeface="arial" panose="020B0604020202020204" pitchFamily="34" charset="0"/>
          </a:endParaRPr>
        </a:p>
      </dgm:t>
    </dgm:pt>
    <dgm:pt modelId="{EB261EF9-5926-48FD-9927-166A6126C3CC}" type="parTrans" cxnId="{E80D872D-FFEB-477D-9A13-BD5584C3A9F8}">
      <dgm:prSet/>
      <dgm:spPr/>
      <dgm:t>
        <a:bodyPr/>
        <a:lstStyle/>
        <a:p>
          <a:endParaRPr lang="en-IN"/>
        </a:p>
      </dgm:t>
    </dgm:pt>
    <dgm:pt modelId="{318D2858-64DC-4BD0-A08E-EC65590265D7}" type="sibTrans" cxnId="{E80D872D-FFEB-477D-9A13-BD5584C3A9F8}">
      <dgm:prSet/>
      <dgm:spPr/>
      <dgm:t>
        <a:bodyPr/>
        <a:lstStyle/>
        <a:p>
          <a:endParaRPr lang="en-IN"/>
        </a:p>
      </dgm:t>
    </dgm:pt>
    <dgm:pt modelId="{91AD0DFB-8DFD-4FD4-99E2-63CB24F83F21}" type="pres">
      <dgm:prSet presAssocID="{DDFCC408-BD3E-491B-B12B-034E1207A1AC}" presName="Name0" presStyleCnt="0">
        <dgm:presLayoutVars>
          <dgm:dir/>
          <dgm:animLvl val="lvl"/>
          <dgm:resizeHandles val="exact"/>
        </dgm:presLayoutVars>
      </dgm:prSet>
      <dgm:spPr/>
    </dgm:pt>
    <dgm:pt modelId="{DBC81CF5-C75C-451D-951F-0D7EB3039376}" type="pres">
      <dgm:prSet presAssocID="{4353463E-20A3-4AD6-85C1-028FA0D449D1}" presName="linNode" presStyleCnt="0"/>
      <dgm:spPr/>
    </dgm:pt>
    <dgm:pt modelId="{FD0C435D-E34A-463F-8F51-3060EDA8F5CD}" type="pres">
      <dgm:prSet presAssocID="{4353463E-20A3-4AD6-85C1-028FA0D449D1}" presName="parentText" presStyleLbl="node1" presStyleIdx="0" presStyleCnt="8">
        <dgm:presLayoutVars>
          <dgm:chMax val="1"/>
          <dgm:bulletEnabled val="1"/>
        </dgm:presLayoutVars>
      </dgm:prSet>
      <dgm:spPr/>
    </dgm:pt>
    <dgm:pt modelId="{79193C7B-EAFE-415E-BD05-4919A68948B6}" type="pres">
      <dgm:prSet presAssocID="{271D08C5-E3C8-4E49-806E-BE1ACE124976}" presName="sp" presStyleCnt="0"/>
      <dgm:spPr/>
    </dgm:pt>
    <dgm:pt modelId="{26DD44CE-D96B-4861-88B9-306E05EEF18C}" type="pres">
      <dgm:prSet presAssocID="{A531E626-3FA5-4A89-8744-1C162A76001E}" presName="linNode" presStyleCnt="0"/>
      <dgm:spPr/>
    </dgm:pt>
    <dgm:pt modelId="{30A5FD5B-CBF2-4854-AE50-75C9AE26700B}" type="pres">
      <dgm:prSet presAssocID="{A531E626-3FA5-4A89-8744-1C162A76001E}" presName="parentText" presStyleLbl="node1" presStyleIdx="1" presStyleCnt="8">
        <dgm:presLayoutVars>
          <dgm:chMax val="1"/>
          <dgm:bulletEnabled val="1"/>
        </dgm:presLayoutVars>
      </dgm:prSet>
      <dgm:spPr/>
    </dgm:pt>
    <dgm:pt modelId="{63919F34-17C0-49D5-BB0A-B35A7132F88E}" type="pres">
      <dgm:prSet presAssocID="{5036CE2B-3810-48A9-BBFC-341D48CD2CD7}" presName="sp" presStyleCnt="0"/>
      <dgm:spPr/>
    </dgm:pt>
    <dgm:pt modelId="{0FF63B4D-6C3E-4821-ADA0-33F2BFBD24B5}" type="pres">
      <dgm:prSet presAssocID="{40F3C81F-1E32-4A99-86BB-F62942E87E50}" presName="linNode" presStyleCnt="0"/>
      <dgm:spPr/>
    </dgm:pt>
    <dgm:pt modelId="{97931570-3424-45CB-B30A-C020C2305AB8}" type="pres">
      <dgm:prSet presAssocID="{40F3C81F-1E32-4A99-86BB-F62942E87E50}" presName="parentText" presStyleLbl="node1" presStyleIdx="2" presStyleCnt="8">
        <dgm:presLayoutVars>
          <dgm:chMax val="1"/>
          <dgm:bulletEnabled val="1"/>
        </dgm:presLayoutVars>
      </dgm:prSet>
      <dgm:spPr/>
    </dgm:pt>
    <dgm:pt modelId="{1E1D64A7-13EE-4193-842F-75D398FC36F9}" type="pres">
      <dgm:prSet presAssocID="{88E3DAEC-C8CD-4411-BE23-3C712C885688}" presName="sp" presStyleCnt="0"/>
      <dgm:spPr/>
    </dgm:pt>
    <dgm:pt modelId="{B341580B-BC4C-45C3-8548-2565EA9FD82D}" type="pres">
      <dgm:prSet presAssocID="{818D701F-453B-4AA7-BF19-A316564FC5AD}" presName="linNode" presStyleCnt="0"/>
      <dgm:spPr/>
    </dgm:pt>
    <dgm:pt modelId="{E3CF3D6A-8F53-4986-89DF-79708C8BD6FE}" type="pres">
      <dgm:prSet presAssocID="{818D701F-453B-4AA7-BF19-A316564FC5AD}" presName="parentText" presStyleLbl="node1" presStyleIdx="3" presStyleCnt="8">
        <dgm:presLayoutVars>
          <dgm:chMax val="1"/>
          <dgm:bulletEnabled val="1"/>
        </dgm:presLayoutVars>
      </dgm:prSet>
      <dgm:spPr/>
    </dgm:pt>
    <dgm:pt modelId="{7F588FDA-63C5-4357-9DC4-6E6D7EC34570}" type="pres">
      <dgm:prSet presAssocID="{99B67126-4B6D-4BD2-BF38-61722BB93458}" presName="sp" presStyleCnt="0"/>
      <dgm:spPr/>
    </dgm:pt>
    <dgm:pt modelId="{26DEC0CE-EA36-4FCF-8A77-CB48416E47D5}" type="pres">
      <dgm:prSet presAssocID="{86585008-06AA-4624-B28D-6320D8BACBE6}" presName="linNode" presStyleCnt="0"/>
      <dgm:spPr/>
    </dgm:pt>
    <dgm:pt modelId="{E66511AB-B8E9-4BCE-B1FD-14CD6178B216}" type="pres">
      <dgm:prSet presAssocID="{86585008-06AA-4624-B28D-6320D8BACBE6}" presName="parentText" presStyleLbl="node1" presStyleIdx="4" presStyleCnt="8">
        <dgm:presLayoutVars>
          <dgm:chMax val="1"/>
          <dgm:bulletEnabled val="1"/>
        </dgm:presLayoutVars>
      </dgm:prSet>
      <dgm:spPr/>
    </dgm:pt>
    <dgm:pt modelId="{B1392AE1-D3E7-4828-A6C9-C8B56F56665A}" type="pres">
      <dgm:prSet presAssocID="{79268E31-3F46-4544-88C4-1CF38D76E4B3}" presName="sp" presStyleCnt="0"/>
      <dgm:spPr/>
    </dgm:pt>
    <dgm:pt modelId="{D40F3DA0-404F-430E-8D5B-EAA159028152}" type="pres">
      <dgm:prSet presAssocID="{47D57038-A3F8-4CB5-BC5F-BD359521B64E}" presName="linNode" presStyleCnt="0"/>
      <dgm:spPr/>
    </dgm:pt>
    <dgm:pt modelId="{05F68828-DC9C-43F4-8851-6C407A193124}" type="pres">
      <dgm:prSet presAssocID="{47D57038-A3F8-4CB5-BC5F-BD359521B64E}" presName="parentText" presStyleLbl="node1" presStyleIdx="5" presStyleCnt="8">
        <dgm:presLayoutVars>
          <dgm:chMax val="1"/>
          <dgm:bulletEnabled val="1"/>
        </dgm:presLayoutVars>
      </dgm:prSet>
      <dgm:spPr/>
    </dgm:pt>
    <dgm:pt modelId="{A7D90106-0C6E-46F0-8AC9-34D253EE8120}" type="pres">
      <dgm:prSet presAssocID="{78B2A251-4208-4FE2-A2A3-C77E5BBA6752}" presName="sp" presStyleCnt="0"/>
      <dgm:spPr/>
    </dgm:pt>
    <dgm:pt modelId="{A331D899-02FA-49DC-A2B5-9756718AFD60}" type="pres">
      <dgm:prSet presAssocID="{2984556E-BC08-4EAE-B1F2-EB340835B681}" presName="linNode" presStyleCnt="0"/>
      <dgm:spPr/>
    </dgm:pt>
    <dgm:pt modelId="{2C177C32-09BF-426E-947F-1D6941B1F583}" type="pres">
      <dgm:prSet presAssocID="{2984556E-BC08-4EAE-B1F2-EB340835B681}" presName="parentText" presStyleLbl="node1" presStyleIdx="6" presStyleCnt="8">
        <dgm:presLayoutVars>
          <dgm:chMax val="1"/>
          <dgm:bulletEnabled val="1"/>
        </dgm:presLayoutVars>
      </dgm:prSet>
      <dgm:spPr/>
    </dgm:pt>
    <dgm:pt modelId="{E81D75C2-9258-4FFE-8624-AC1CFAE79847}" type="pres">
      <dgm:prSet presAssocID="{F3CDF083-EF76-4BD3-A74E-824442C2E8E8}" presName="sp" presStyleCnt="0"/>
      <dgm:spPr/>
    </dgm:pt>
    <dgm:pt modelId="{62A9511E-49DF-4563-AF4F-E137CAB2C5AA}" type="pres">
      <dgm:prSet presAssocID="{17FF2E83-06BD-4A2A-B03C-D98180988A8A}" presName="linNode" presStyleCnt="0"/>
      <dgm:spPr/>
    </dgm:pt>
    <dgm:pt modelId="{936E2534-92B4-495D-8239-94D955FE9B14}" type="pres">
      <dgm:prSet presAssocID="{17FF2E83-06BD-4A2A-B03C-D98180988A8A}" presName="parentText" presStyleLbl="node1" presStyleIdx="7" presStyleCnt="8">
        <dgm:presLayoutVars>
          <dgm:chMax val="1"/>
          <dgm:bulletEnabled val="1"/>
        </dgm:presLayoutVars>
      </dgm:prSet>
      <dgm:spPr/>
    </dgm:pt>
  </dgm:ptLst>
  <dgm:cxnLst>
    <dgm:cxn modelId="{B5562106-5FD3-4431-9189-1AB7F5B619A3}" type="presOf" srcId="{47D57038-A3F8-4CB5-BC5F-BD359521B64E}" destId="{05F68828-DC9C-43F4-8851-6C407A193124}" srcOrd="0" destOrd="0" presId="urn:microsoft.com/office/officeart/2005/8/layout/vList5"/>
    <dgm:cxn modelId="{BC530329-A963-41D5-8D08-11D92A366E14}" srcId="{DDFCC408-BD3E-491B-B12B-034E1207A1AC}" destId="{A531E626-3FA5-4A89-8744-1C162A76001E}" srcOrd="1" destOrd="0" parTransId="{A770674B-478D-4D35-9424-679EDD8E8133}" sibTransId="{5036CE2B-3810-48A9-BBFC-341D48CD2CD7}"/>
    <dgm:cxn modelId="{E80D872D-FFEB-477D-9A13-BD5584C3A9F8}" srcId="{DDFCC408-BD3E-491B-B12B-034E1207A1AC}" destId="{17FF2E83-06BD-4A2A-B03C-D98180988A8A}" srcOrd="7" destOrd="0" parTransId="{EB261EF9-5926-48FD-9927-166A6126C3CC}" sibTransId="{318D2858-64DC-4BD0-A08E-EC65590265D7}"/>
    <dgm:cxn modelId="{622ADF3B-EC5F-455E-8C04-DAA51B51D8BA}" type="presOf" srcId="{A531E626-3FA5-4A89-8744-1C162A76001E}" destId="{30A5FD5B-CBF2-4854-AE50-75C9AE26700B}" srcOrd="0" destOrd="0" presId="urn:microsoft.com/office/officeart/2005/8/layout/vList5"/>
    <dgm:cxn modelId="{253CBA5D-4048-4F93-8E41-7E76CCBF779E}" type="presOf" srcId="{DDFCC408-BD3E-491B-B12B-034E1207A1AC}" destId="{91AD0DFB-8DFD-4FD4-99E2-63CB24F83F21}" srcOrd="0" destOrd="0" presId="urn:microsoft.com/office/officeart/2005/8/layout/vList5"/>
    <dgm:cxn modelId="{0D376968-52E9-4BFC-B3FF-95EDA9E4D9B8}" type="presOf" srcId="{17FF2E83-06BD-4A2A-B03C-D98180988A8A}" destId="{936E2534-92B4-495D-8239-94D955FE9B14}" srcOrd="0" destOrd="0" presId="urn:microsoft.com/office/officeart/2005/8/layout/vList5"/>
    <dgm:cxn modelId="{083A2049-D1C1-4B46-8097-54872C451052}" type="presOf" srcId="{2984556E-BC08-4EAE-B1F2-EB340835B681}" destId="{2C177C32-09BF-426E-947F-1D6941B1F583}" srcOrd="0" destOrd="0" presId="urn:microsoft.com/office/officeart/2005/8/layout/vList5"/>
    <dgm:cxn modelId="{CDA6F66B-75C9-4940-BE84-FF46D3833E8E}" srcId="{DDFCC408-BD3E-491B-B12B-034E1207A1AC}" destId="{4353463E-20A3-4AD6-85C1-028FA0D449D1}" srcOrd="0" destOrd="0" parTransId="{ABEED0C3-F8A0-44A8-BDA4-7585D6FB061E}" sibTransId="{271D08C5-E3C8-4E49-806E-BE1ACE124976}"/>
    <dgm:cxn modelId="{1F68B450-551D-4CA5-B12D-3F08A356A6E4}" srcId="{DDFCC408-BD3E-491B-B12B-034E1207A1AC}" destId="{86585008-06AA-4624-B28D-6320D8BACBE6}" srcOrd="4" destOrd="0" parTransId="{18371C0E-A9CA-4227-BD84-FA152FA2C704}" sibTransId="{79268E31-3F46-4544-88C4-1CF38D76E4B3}"/>
    <dgm:cxn modelId="{EF05EE78-181C-459E-AEDE-D7A63494A44F}" srcId="{DDFCC408-BD3E-491B-B12B-034E1207A1AC}" destId="{47D57038-A3F8-4CB5-BC5F-BD359521B64E}" srcOrd="5" destOrd="0" parTransId="{D41BECE3-AA7E-446A-A492-174740CCA032}" sibTransId="{78B2A251-4208-4FE2-A2A3-C77E5BBA6752}"/>
    <dgm:cxn modelId="{DC5A2DB4-0D94-43B1-85BB-A5260C7FF0FB}" srcId="{DDFCC408-BD3E-491B-B12B-034E1207A1AC}" destId="{818D701F-453B-4AA7-BF19-A316564FC5AD}" srcOrd="3" destOrd="0" parTransId="{E59E8052-E67C-49A3-8039-5E08046F3680}" sibTransId="{99B67126-4B6D-4BD2-BF38-61722BB93458}"/>
    <dgm:cxn modelId="{825483B4-D413-4090-A9A6-77778C6771A4}" type="presOf" srcId="{4353463E-20A3-4AD6-85C1-028FA0D449D1}" destId="{FD0C435D-E34A-463F-8F51-3060EDA8F5CD}" srcOrd="0" destOrd="0" presId="urn:microsoft.com/office/officeart/2005/8/layout/vList5"/>
    <dgm:cxn modelId="{9FA499B5-219B-4636-9431-2BFBBF79BA34}" srcId="{DDFCC408-BD3E-491B-B12B-034E1207A1AC}" destId="{40F3C81F-1E32-4A99-86BB-F62942E87E50}" srcOrd="2" destOrd="0" parTransId="{B2310E80-14BF-4353-97B9-4E41FDE63FFB}" sibTransId="{88E3DAEC-C8CD-4411-BE23-3C712C885688}"/>
    <dgm:cxn modelId="{D96C25C0-33AC-4285-BEDE-86B1D75D5817}" srcId="{DDFCC408-BD3E-491B-B12B-034E1207A1AC}" destId="{2984556E-BC08-4EAE-B1F2-EB340835B681}" srcOrd="6" destOrd="0" parTransId="{C9DA58F4-D6EB-4588-8540-5A60E4299B72}" sibTransId="{F3CDF083-EF76-4BD3-A74E-824442C2E8E8}"/>
    <dgm:cxn modelId="{6C2573C1-D953-45BF-A9EA-2819DFE8AAFC}" type="presOf" srcId="{86585008-06AA-4624-B28D-6320D8BACBE6}" destId="{E66511AB-B8E9-4BCE-B1FD-14CD6178B216}" srcOrd="0" destOrd="0" presId="urn:microsoft.com/office/officeart/2005/8/layout/vList5"/>
    <dgm:cxn modelId="{862B96D6-6FC6-45DD-8B50-D32B1C599499}" type="presOf" srcId="{40F3C81F-1E32-4A99-86BB-F62942E87E50}" destId="{97931570-3424-45CB-B30A-C020C2305AB8}" srcOrd="0" destOrd="0" presId="urn:microsoft.com/office/officeart/2005/8/layout/vList5"/>
    <dgm:cxn modelId="{ABBCE3FB-8ADE-4064-8D88-8831FB3B5739}" type="presOf" srcId="{818D701F-453B-4AA7-BF19-A316564FC5AD}" destId="{E3CF3D6A-8F53-4986-89DF-79708C8BD6FE}" srcOrd="0" destOrd="0" presId="urn:microsoft.com/office/officeart/2005/8/layout/vList5"/>
    <dgm:cxn modelId="{EE0B00A3-063B-4681-8E7E-EB85D4EFFF37}" type="presParOf" srcId="{91AD0DFB-8DFD-4FD4-99E2-63CB24F83F21}" destId="{DBC81CF5-C75C-451D-951F-0D7EB3039376}" srcOrd="0" destOrd="0" presId="urn:microsoft.com/office/officeart/2005/8/layout/vList5"/>
    <dgm:cxn modelId="{44C2A621-269B-4B7B-8798-E46991FB2685}" type="presParOf" srcId="{DBC81CF5-C75C-451D-951F-0D7EB3039376}" destId="{FD0C435D-E34A-463F-8F51-3060EDA8F5CD}" srcOrd="0" destOrd="0" presId="urn:microsoft.com/office/officeart/2005/8/layout/vList5"/>
    <dgm:cxn modelId="{32044C5E-5CC0-4055-BB57-1FDC58994E34}" type="presParOf" srcId="{91AD0DFB-8DFD-4FD4-99E2-63CB24F83F21}" destId="{79193C7B-EAFE-415E-BD05-4919A68948B6}" srcOrd="1" destOrd="0" presId="urn:microsoft.com/office/officeart/2005/8/layout/vList5"/>
    <dgm:cxn modelId="{8607F70D-BEF5-4652-8114-A69EE7A4A6B5}" type="presParOf" srcId="{91AD0DFB-8DFD-4FD4-99E2-63CB24F83F21}" destId="{26DD44CE-D96B-4861-88B9-306E05EEF18C}" srcOrd="2" destOrd="0" presId="urn:microsoft.com/office/officeart/2005/8/layout/vList5"/>
    <dgm:cxn modelId="{108ECD75-BF44-49B0-8517-D3A8FDB10562}" type="presParOf" srcId="{26DD44CE-D96B-4861-88B9-306E05EEF18C}" destId="{30A5FD5B-CBF2-4854-AE50-75C9AE26700B}" srcOrd="0" destOrd="0" presId="urn:microsoft.com/office/officeart/2005/8/layout/vList5"/>
    <dgm:cxn modelId="{E2B7089D-2D90-452B-AC8D-7982AE3EF919}" type="presParOf" srcId="{91AD0DFB-8DFD-4FD4-99E2-63CB24F83F21}" destId="{63919F34-17C0-49D5-BB0A-B35A7132F88E}" srcOrd="3" destOrd="0" presId="urn:microsoft.com/office/officeart/2005/8/layout/vList5"/>
    <dgm:cxn modelId="{E393F4A4-1C05-49AC-839C-0E86E2B09564}" type="presParOf" srcId="{91AD0DFB-8DFD-4FD4-99E2-63CB24F83F21}" destId="{0FF63B4D-6C3E-4821-ADA0-33F2BFBD24B5}" srcOrd="4" destOrd="0" presId="urn:microsoft.com/office/officeart/2005/8/layout/vList5"/>
    <dgm:cxn modelId="{FFE7076F-5EBD-4800-85BE-A6017ACA90FA}" type="presParOf" srcId="{0FF63B4D-6C3E-4821-ADA0-33F2BFBD24B5}" destId="{97931570-3424-45CB-B30A-C020C2305AB8}" srcOrd="0" destOrd="0" presId="urn:microsoft.com/office/officeart/2005/8/layout/vList5"/>
    <dgm:cxn modelId="{297B2BB4-8A17-4650-820E-699FEDFFEAA8}" type="presParOf" srcId="{91AD0DFB-8DFD-4FD4-99E2-63CB24F83F21}" destId="{1E1D64A7-13EE-4193-842F-75D398FC36F9}" srcOrd="5" destOrd="0" presId="urn:microsoft.com/office/officeart/2005/8/layout/vList5"/>
    <dgm:cxn modelId="{118B0DD7-0447-4385-B751-A136EE3F8B1D}" type="presParOf" srcId="{91AD0DFB-8DFD-4FD4-99E2-63CB24F83F21}" destId="{B341580B-BC4C-45C3-8548-2565EA9FD82D}" srcOrd="6" destOrd="0" presId="urn:microsoft.com/office/officeart/2005/8/layout/vList5"/>
    <dgm:cxn modelId="{D834AC3E-086A-4B29-A689-9A46B3DDC4EA}" type="presParOf" srcId="{B341580B-BC4C-45C3-8548-2565EA9FD82D}" destId="{E3CF3D6A-8F53-4986-89DF-79708C8BD6FE}" srcOrd="0" destOrd="0" presId="urn:microsoft.com/office/officeart/2005/8/layout/vList5"/>
    <dgm:cxn modelId="{0A465427-F715-48A9-8821-CA55E6E158C9}" type="presParOf" srcId="{91AD0DFB-8DFD-4FD4-99E2-63CB24F83F21}" destId="{7F588FDA-63C5-4357-9DC4-6E6D7EC34570}" srcOrd="7" destOrd="0" presId="urn:microsoft.com/office/officeart/2005/8/layout/vList5"/>
    <dgm:cxn modelId="{3FC39C9C-6FA7-4DEA-8088-1B5BB6DDABAE}" type="presParOf" srcId="{91AD0DFB-8DFD-4FD4-99E2-63CB24F83F21}" destId="{26DEC0CE-EA36-4FCF-8A77-CB48416E47D5}" srcOrd="8" destOrd="0" presId="urn:microsoft.com/office/officeart/2005/8/layout/vList5"/>
    <dgm:cxn modelId="{847E568D-C069-4FDA-819F-AAF73C3E949D}" type="presParOf" srcId="{26DEC0CE-EA36-4FCF-8A77-CB48416E47D5}" destId="{E66511AB-B8E9-4BCE-B1FD-14CD6178B216}" srcOrd="0" destOrd="0" presId="urn:microsoft.com/office/officeart/2005/8/layout/vList5"/>
    <dgm:cxn modelId="{6EFB9BB0-12AE-4397-AA60-436367988BD0}" type="presParOf" srcId="{91AD0DFB-8DFD-4FD4-99E2-63CB24F83F21}" destId="{B1392AE1-D3E7-4828-A6C9-C8B56F56665A}" srcOrd="9" destOrd="0" presId="urn:microsoft.com/office/officeart/2005/8/layout/vList5"/>
    <dgm:cxn modelId="{B9CD10B4-78D9-469C-8760-21644C9159F4}" type="presParOf" srcId="{91AD0DFB-8DFD-4FD4-99E2-63CB24F83F21}" destId="{D40F3DA0-404F-430E-8D5B-EAA159028152}" srcOrd="10" destOrd="0" presId="urn:microsoft.com/office/officeart/2005/8/layout/vList5"/>
    <dgm:cxn modelId="{23EF9FFC-2700-4116-9074-71D98A5E7C00}" type="presParOf" srcId="{D40F3DA0-404F-430E-8D5B-EAA159028152}" destId="{05F68828-DC9C-43F4-8851-6C407A193124}" srcOrd="0" destOrd="0" presId="urn:microsoft.com/office/officeart/2005/8/layout/vList5"/>
    <dgm:cxn modelId="{1D69B14A-C8B2-4289-AA83-B26367F2557B}" type="presParOf" srcId="{91AD0DFB-8DFD-4FD4-99E2-63CB24F83F21}" destId="{A7D90106-0C6E-46F0-8AC9-34D253EE8120}" srcOrd="11" destOrd="0" presId="urn:microsoft.com/office/officeart/2005/8/layout/vList5"/>
    <dgm:cxn modelId="{DBD1E390-2E8D-4713-BCD7-E37449B922CB}" type="presParOf" srcId="{91AD0DFB-8DFD-4FD4-99E2-63CB24F83F21}" destId="{A331D899-02FA-49DC-A2B5-9756718AFD60}" srcOrd="12" destOrd="0" presId="urn:microsoft.com/office/officeart/2005/8/layout/vList5"/>
    <dgm:cxn modelId="{53E3D2CA-4479-4471-8B3F-A9887C66B4A9}" type="presParOf" srcId="{A331D899-02FA-49DC-A2B5-9756718AFD60}" destId="{2C177C32-09BF-426E-947F-1D6941B1F583}" srcOrd="0" destOrd="0" presId="urn:microsoft.com/office/officeart/2005/8/layout/vList5"/>
    <dgm:cxn modelId="{619B4DC8-47BD-49F6-9BE4-575CD3118848}" type="presParOf" srcId="{91AD0DFB-8DFD-4FD4-99E2-63CB24F83F21}" destId="{E81D75C2-9258-4FFE-8624-AC1CFAE79847}" srcOrd="13" destOrd="0" presId="urn:microsoft.com/office/officeart/2005/8/layout/vList5"/>
    <dgm:cxn modelId="{BE6FF59D-D37E-464D-8052-84A3000740CA}" type="presParOf" srcId="{91AD0DFB-8DFD-4FD4-99E2-63CB24F83F21}" destId="{62A9511E-49DF-4563-AF4F-E137CAB2C5AA}" srcOrd="14" destOrd="0" presId="urn:microsoft.com/office/officeart/2005/8/layout/vList5"/>
    <dgm:cxn modelId="{876EF56C-8672-4D09-ADA6-A8BBADE3BA0F}" type="presParOf" srcId="{62A9511E-49DF-4563-AF4F-E137CAB2C5AA}" destId="{936E2534-92B4-495D-8239-94D955FE9B14}"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FCC408-BD3E-491B-B12B-034E1207A1AC}" type="doc">
      <dgm:prSet loTypeId="urn:microsoft.com/office/officeart/2005/8/layout/default" loCatId="list" qsTypeId="urn:microsoft.com/office/officeart/2005/8/quickstyle/simple4" qsCatId="simple" csTypeId="urn:microsoft.com/office/officeart/2005/8/colors/accent2_2" csCatId="accent2" phldr="1"/>
      <dgm:spPr/>
      <dgm:t>
        <a:bodyPr/>
        <a:lstStyle/>
        <a:p>
          <a:endParaRPr lang="en-US"/>
        </a:p>
      </dgm:t>
    </dgm:pt>
    <dgm:pt modelId="{C3EBCC29-F038-4E56-AC17-75B2882420FA}">
      <dgm:prSet/>
      <dgm:spPr/>
      <dgm:t>
        <a:bodyPr/>
        <a:lstStyle/>
        <a:p>
          <a:r>
            <a:rPr lang="en-IN" b="0" i="0">
              <a:solidFill>
                <a:schemeClr val="tx1"/>
              </a:solidFill>
              <a:effectLst/>
            </a:rPr>
            <a:t>Open the Amazon EC2 console at </a:t>
          </a:r>
          <a:r>
            <a:rPr lang="en-IN" b="0" i="0">
              <a:solidFill>
                <a:schemeClr val="tx1"/>
              </a:solidFill>
              <a:effectLst/>
              <a:hlinkClick xmlns:r="http://schemas.openxmlformats.org/officeDocument/2006/relationships" r:id="rId1">
                <a:extLst>
                  <a:ext uri="{A12FA001-AC4F-418D-AE19-62706E023703}">
                    <ahyp:hlinkClr xmlns:ahyp="http://schemas.microsoft.com/office/drawing/2018/hyperlinkcolor" val="tx"/>
                  </a:ext>
                </a:extLst>
              </a:hlinkClick>
            </a:rPr>
            <a:t>https://console.aws.amazon.com/ec2</a:t>
          </a:r>
          <a:endParaRPr lang="en-IN" b="0" i="0" dirty="0">
            <a:solidFill>
              <a:schemeClr val="tx1"/>
            </a:solidFill>
            <a:effectLst/>
          </a:endParaRPr>
        </a:p>
      </dgm:t>
    </dgm:pt>
    <dgm:pt modelId="{AD581205-9215-41F2-BBA2-8106B4FB3F1A}" type="parTrans" cxnId="{406BF817-C16D-44D0-B9DD-8F2098AD697F}">
      <dgm:prSet/>
      <dgm:spPr/>
      <dgm:t>
        <a:bodyPr/>
        <a:lstStyle/>
        <a:p>
          <a:endParaRPr lang="en-IN"/>
        </a:p>
      </dgm:t>
    </dgm:pt>
    <dgm:pt modelId="{CF7302B2-D261-4C66-9D99-3848EAB813BE}" type="sibTrans" cxnId="{406BF817-C16D-44D0-B9DD-8F2098AD697F}">
      <dgm:prSet/>
      <dgm:spPr/>
      <dgm:t>
        <a:bodyPr/>
        <a:lstStyle/>
        <a:p>
          <a:endParaRPr lang="en-IN"/>
        </a:p>
      </dgm:t>
    </dgm:pt>
    <dgm:pt modelId="{5995A65A-77FB-4FD9-A555-5BBA2EE199DD}">
      <dgm:prSet/>
      <dgm:spPr/>
      <dgm:t>
        <a:bodyPr/>
        <a:lstStyle/>
        <a:p>
          <a:r>
            <a:rPr lang="en-IN" b="0" i="0">
              <a:solidFill>
                <a:schemeClr val="tx1"/>
              </a:solidFill>
              <a:effectLst/>
            </a:rPr>
            <a:t>From the EC2 console dashboard, in the Launch instance box, choose Launch instance</a:t>
          </a:r>
          <a:endParaRPr lang="en-IN" b="0" dirty="0">
            <a:solidFill>
              <a:schemeClr val="tx1"/>
            </a:solidFill>
          </a:endParaRPr>
        </a:p>
      </dgm:t>
    </dgm:pt>
    <dgm:pt modelId="{0EDBC66B-91C5-4E61-82A5-E4EC229F7425}" type="parTrans" cxnId="{1B03A236-4F04-43A9-A7AD-6E53CC127FD4}">
      <dgm:prSet/>
      <dgm:spPr/>
      <dgm:t>
        <a:bodyPr/>
        <a:lstStyle/>
        <a:p>
          <a:endParaRPr lang="en-IN"/>
        </a:p>
      </dgm:t>
    </dgm:pt>
    <dgm:pt modelId="{1605DE19-82DF-4F3A-A082-355D64A1789E}" type="sibTrans" cxnId="{1B03A236-4F04-43A9-A7AD-6E53CC127FD4}">
      <dgm:prSet/>
      <dgm:spPr/>
      <dgm:t>
        <a:bodyPr/>
        <a:lstStyle/>
        <a:p>
          <a:endParaRPr lang="en-IN"/>
        </a:p>
      </dgm:t>
    </dgm:pt>
    <dgm:pt modelId="{5D9F0CA4-E0F2-427E-A0E8-D27DF3371131}">
      <dgm:prSet/>
      <dgm:spPr/>
      <dgm:t>
        <a:bodyPr/>
        <a:lstStyle/>
        <a:p>
          <a:r>
            <a:rPr lang="en-IN" b="0" i="0">
              <a:solidFill>
                <a:schemeClr val="tx1"/>
              </a:solidFill>
              <a:effectLst/>
            </a:rPr>
            <a:t>then choose Launch instance from the options that appear</a:t>
          </a:r>
          <a:endParaRPr lang="en-IN" b="0" i="0" dirty="0">
            <a:solidFill>
              <a:schemeClr val="tx1"/>
            </a:solidFill>
            <a:effectLst/>
          </a:endParaRPr>
        </a:p>
      </dgm:t>
    </dgm:pt>
    <dgm:pt modelId="{E77DEFBD-FE44-438F-8BF6-5BD2CF588063}" type="parTrans" cxnId="{2DB1D4FE-FA31-40DB-AB5E-4C0E68D2A113}">
      <dgm:prSet/>
      <dgm:spPr/>
      <dgm:t>
        <a:bodyPr/>
        <a:lstStyle/>
        <a:p>
          <a:endParaRPr lang="en-IN"/>
        </a:p>
      </dgm:t>
    </dgm:pt>
    <dgm:pt modelId="{5337CE4D-91E9-46DD-A17D-6287B4E2BCEE}" type="sibTrans" cxnId="{2DB1D4FE-FA31-40DB-AB5E-4C0E68D2A113}">
      <dgm:prSet/>
      <dgm:spPr/>
      <dgm:t>
        <a:bodyPr/>
        <a:lstStyle/>
        <a:p>
          <a:endParaRPr lang="en-IN"/>
        </a:p>
      </dgm:t>
    </dgm:pt>
    <dgm:pt modelId="{5BAD813F-6596-406D-89BC-A1E65CCC065E}">
      <dgm:prSet/>
      <dgm:spPr/>
      <dgm:t>
        <a:bodyPr/>
        <a:lstStyle/>
        <a:p>
          <a:r>
            <a:rPr lang="en-IN" b="0" i="0">
              <a:solidFill>
                <a:schemeClr val="tx1"/>
              </a:solidFill>
              <a:effectLst/>
            </a:rPr>
            <a:t>Under Name and tags, for Name, enter a descriptive name for your instance</a:t>
          </a:r>
          <a:endParaRPr lang="en-US" b="0" dirty="0">
            <a:solidFill>
              <a:schemeClr val="tx1"/>
            </a:solidFill>
          </a:endParaRPr>
        </a:p>
      </dgm:t>
    </dgm:pt>
    <dgm:pt modelId="{4B23E7CE-BA6C-4B0F-B527-1EB3955E644E}" type="parTrans" cxnId="{09D0557E-D532-40E8-8D7D-827F3A98EE9B}">
      <dgm:prSet/>
      <dgm:spPr/>
      <dgm:t>
        <a:bodyPr/>
        <a:lstStyle/>
        <a:p>
          <a:endParaRPr lang="en-IN"/>
        </a:p>
      </dgm:t>
    </dgm:pt>
    <dgm:pt modelId="{69CF21D8-FDC5-4DFA-A6BA-845C08EC8C51}" type="sibTrans" cxnId="{09D0557E-D532-40E8-8D7D-827F3A98EE9B}">
      <dgm:prSet/>
      <dgm:spPr/>
      <dgm:t>
        <a:bodyPr/>
        <a:lstStyle/>
        <a:p>
          <a:endParaRPr lang="en-IN"/>
        </a:p>
      </dgm:t>
    </dgm:pt>
    <dgm:pt modelId="{B554BF68-6D60-427F-8D7D-166011DA6521}" type="pres">
      <dgm:prSet presAssocID="{DDFCC408-BD3E-491B-B12B-034E1207A1AC}" presName="diagram" presStyleCnt="0">
        <dgm:presLayoutVars>
          <dgm:dir/>
          <dgm:resizeHandles val="exact"/>
        </dgm:presLayoutVars>
      </dgm:prSet>
      <dgm:spPr/>
    </dgm:pt>
    <dgm:pt modelId="{D09C33E4-CA64-465C-BEAA-5F72C6D0B7C8}" type="pres">
      <dgm:prSet presAssocID="{C3EBCC29-F038-4E56-AC17-75B2882420FA}" presName="node" presStyleLbl="node1" presStyleIdx="0" presStyleCnt="4">
        <dgm:presLayoutVars>
          <dgm:bulletEnabled val="1"/>
        </dgm:presLayoutVars>
      </dgm:prSet>
      <dgm:spPr/>
    </dgm:pt>
    <dgm:pt modelId="{15193607-1A3E-41A7-AAD5-7DF11B473161}" type="pres">
      <dgm:prSet presAssocID="{CF7302B2-D261-4C66-9D99-3848EAB813BE}" presName="sibTrans" presStyleCnt="0"/>
      <dgm:spPr/>
    </dgm:pt>
    <dgm:pt modelId="{95735A4F-D2FB-4034-9B61-BDCDBC63C4C8}" type="pres">
      <dgm:prSet presAssocID="{5995A65A-77FB-4FD9-A555-5BBA2EE199DD}" presName="node" presStyleLbl="node1" presStyleIdx="1" presStyleCnt="4">
        <dgm:presLayoutVars>
          <dgm:bulletEnabled val="1"/>
        </dgm:presLayoutVars>
      </dgm:prSet>
      <dgm:spPr/>
    </dgm:pt>
    <dgm:pt modelId="{4F2CB582-ED83-428F-A4E4-8556B304829A}" type="pres">
      <dgm:prSet presAssocID="{1605DE19-82DF-4F3A-A082-355D64A1789E}" presName="sibTrans" presStyleCnt="0"/>
      <dgm:spPr/>
    </dgm:pt>
    <dgm:pt modelId="{FC797387-CBA1-4684-862F-7C7D4BF64F32}" type="pres">
      <dgm:prSet presAssocID="{5D9F0CA4-E0F2-427E-A0E8-D27DF3371131}" presName="node" presStyleLbl="node1" presStyleIdx="2" presStyleCnt="4">
        <dgm:presLayoutVars>
          <dgm:bulletEnabled val="1"/>
        </dgm:presLayoutVars>
      </dgm:prSet>
      <dgm:spPr/>
    </dgm:pt>
    <dgm:pt modelId="{8B330C83-C641-48D7-9FEB-E468689545D9}" type="pres">
      <dgm:prSet presAssocID="{5337CE4D-91E9-46DD-A17D-6287B4E2BCEE}" presName="sibTrans" presStyleCnt="0"/>
      <dgm:spPr/>
    </dgm:pt>
    <dgm:pt modelId="{F991493F-8369-4882-AAB0-0281BA82664A}" type="pres">
      <dgm:prSet presAssocID="{5BAD813F-6596-406D-89BC-A1E65CCC065E}" presName="node" presStyleLbl="node1" presStyleIdx="3" presStyleCnt="4">
        <dgm:presLayoutVars>
          <dgm:bulletEnabled val="1"/>
        </dgm:presLayoutVars>
      </dgm:prSet>
      <dgm:spPr/>
    </dgm:pt>
  </dgm:ptLst>
  <dgm:cxnLst>
    <dgm:cxn modelId="{F94B9B0C-2F07-4960-9638-C5B6EF350519}" type="presOf" srcId="{5995A65A-77FB-4FD9-A555-5BBA2EE199DD}" destId="{95735A4F-D2FB-4034-9B61-BDCDBC63C4C8}" srcOrd="0" destOrd="0" presId="urn:microsoft.com/office/officeart/2005/8/layout/default"/>
    <dgm:cxn modelId="{C3B4EC0C-D309-4F4A-AC00-63F1F8A8EA89}" type="presOf" srcId="{5BAD813F-6596-406D-89BC-A1E65CCC065E}" destId="{F991493F-8369-4882-AAB0-0281BA82664A}" srcOrd="0" destOrd="0" presId="urn:microsoft.com/office/officeart/2005/8/layout/default"/>
    <dgm:cxn modelId="{406BF817-C16D-44D0-B9DD-8F2098AD697F}" srcId="{DDFCC408-BD3E-491B-B12B-034E1207A1AC}" destId="{C3EBCC29-F038-4E56-AC17-75B2882420FA}" srcOrd="0" destOrd="0" parTransId="{AD581205-9215-41F2-BBA2-8106B4FB3F1A}" sibTransId="{CF7302B2-D261-4C66-9D99-3848EAB813BE}"/>
    <dgm:cxn modelId="{B7CA0B1F-89FE-447E-AA59-43DBA9C32149}" type="presOf" srcId="{5D9F0CA4-E0F2-427E-A0E8-D27DF3371131}" destId="{FC797387-CBA1-4684-862F-7C7D4BF64F32}" srcOrd="0" destOrd="0" presId="urn:microsoft.com/office/officeart/2005/8/layout/default"/>
    <dgm:cxn modelId="{1B03A236-4F04-43A9-A7AD-6E53CC127FD4}" srcId="{DDFCC408-BD3E-491B-B12B-034E1207A1AC}" destId="{5995A65A-77FB-4FD9-A555-5BBA2EE199DD}" srcOrd="1" destOrd="0" parTransId="{0EDBC66B-91C5-4E61-82A5-E4EC229F7425}" sibTransId="{1605DE19-82DF-4F3A-A082-355D64A1789E}"/>
    <dgm:cxn modelId="{09D0557E-D532-40E8-8D7D-827F3A98EE9B}" srcId="{DDFCC408-BD3E-491B-B12B-034E1207A1AC}" destId="{5BAD813F-6596-406D-89BC-A1E65CCC065E}" srcOrd="3" destOrd="0" parTransId="{4B23E7CE-BA6C-4B0F-B527-1EB3955E644E}" sibTransId="{69CF21D8-FDC5-4DFA-A6BA-845C08EC8C51}"/>
    <dgm:cxn modelId="{B3105F99-8B42-4CE1-8F83-FF42FB2F984A}" type="presOf" srcId="{DDFCC408-BD3E-491B-B12B-034E1207A1AC}" destId="{B554BF68-6D60-427F-8D7D-166011DA6521}" srcOrd="0" destOrd="0" presId="urn:microsoft.com/office/officeart/2005/8/layout/default"/>
    <dgm:cxn modelId="{43EA4DD7-1E89-4286-B544-D9A7107EAB3A}" type="presOf" srcId="{C3EBCC29-F038-4E56-AC17-75B2882420FA}" destId="{D09C33E4-CA64-465C-BEAA-5F72C6D0B7C8}" srcOrd="0" destOrd="0" presId="urn:microsoft.com/office/officeart/2005/8/layout/default"/>
    <dgm:cxn modelId="{2DB1D4FE-FA31-40DB-AB5E-4C0E68D2A113}" srcId="{DDFCC408-BD3E-491B-B12B-034E1207A1AC}" destId="{5D9F0CA4-E0F2-427E-A0E8-D27DF3371131}" srcOrd="2" destOrd="0" parTransId="{E77DEFBD-FE44-438F-8BF6-5BD2CF588063}" sibTransId="{5337CE4D-91E9-46DD-A17D-6287B4E2BCEE}"/>
    <dgm:cxn modelId="{E59FBD52-9F03-4A40-8A32-6AB35B06DC70}" type="presParOf" srcId="{B554BF68-6D60-427F-8D7D-166011DA6521}" destId="{D09C33E4-CA64-465C-BEAA-5F72C6D0B7C8}" srcOrd="0" destOrd="0" presId="urn:microsoft.com/office/officeart/2005/8/layout/default"/>
    <dgm:cxn modelId="{E1B937EE-CC65-4D69-BEF3-C1C00EBB3B81}" type="presParOf" srcId="{B554BF68-6D60-427F-8D7D-166011DA6521}" destId="{15193607-1A3E-41A7-AAD5-7DF11B473161}" srcOrd="1" destOrd="0" presId="urn:microsoft.com/office/officeart/2005/8/layout/default"/>
    <dgm:cxn modelId="{2B928DD3-7AC7-4E21-9E15-9AA0299F0046}" type="presParOf" srcId="{B554BF68-6D60-427F-8D7D-166011DA6521}" destId="{95735A4F-D2FB-4034-9B61-BDCDBC63C4C8}" srcOrd="2" destOrd="0" presId="urn:microsoft.com/office/officeart/2005/8/layout/default"/>
    <dgm:cxn modelId="{D030C2E3-E299-435D-86BB-ABAC83990CB8}" type="presParOf" srcId="{B554BF68-6D60-427F-8D7D-166011DA6521}" destId="{4F2CB582-ED83-428F-A4E4-8556B304829A}" srcOrd="3" destOrd="0" presId="urn:microsoft.com/office/officeart/2005/8/layout/default"/>
    <dgm:cxn modelId="{231819E4-D05F-4077-9E88-A8F8AB98807F}" type="presParOf" srcId="{B554BF68-6D60-427F-8D7D-166011DA6521}" destId="{FC797387-CBA1-4684-862F-7C7D4BF64F32}" srcOrd="4" destOrd="0" presId="urn:microsoft.com/office/officeart/2005/8/layout/default"/>
    <dgm:cxn modelId="{CB8B6813-0BB5-49E8-ACE9-E7DAD0798F21}" type="presParOf" srcId="{B554BF68-6D60-427F-8D7D-166011DA6521}" destId="{8B330C83-C641-48D7-9FEB-E468689545D9}" srcOrd="5" destOrd="0" presId="urn:microsoft.com/office/officeart/2005/8/layout/default"/>
    <dgm:cxn modelId="{563C5132-F117-4F1A-92E9-0E7399A7CADE}" type="presParOf" srcId="{B554BF68-6D60-427F-8D7D-166011DA6521}" destId="{F991493F-8369-4882-AAB0-0281BA82664A}"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DFCC408-BD3E-491B-B12B-034E1207A1AC}" type="doc">
      <dgm:prSet loTypeId="urn:microsoft.com/office/officeart/2005/8/layout/vProcess5" loCatId="process" qsTypeId="urn:microsoft.com/office/officeart/2005/8/quickstyle/simple5" qsCatId="simple" csTypeId="urn:microsoft.com/office/officeart/2005/8/colors/accent3_2" csCatId="accent3" phldr="1"/>
      <dgm:spPr/>
      <dgm:t>
        <a:bodyPr/>
        <a:lstStyle/>
        <a:p>
          <a:endParaRPr lang="en-US"/>
        </a:p>
      </dgm:t>
    </dgm:pt>
    <dgm:pt modelId="{EDB61C3D-D94F-4ED3-A0A6-F498236C6EDC}">
      <dgm:prSet/>
      <dgm:spPr/>
      <dgm:t>
        <a:bodyPr/>
        <a:lstStyle/>
        <a:p>
          <a:r>
            <a:rPr lang="en-IN" b="0" i="0">
              <a:effectLst/>
            </a:rPr>
            <a:t>Sign into the preview version of the AWS Management Console .</a:t>
          </a:r>
        </a:p>
      </dgm:t>
    </dgm:pt>
    <dgm:pt modelId="{B93D8EE5-CDBA-4DB8-A76F-95B65BAB7222}" type="parTrans" cxnId="{C057C3D5-C827-431B-83A8-C2968B154FD6}">
      <dgm:prSet/>
      <dgm:spPr/>
      <dgm:t>
        <a:bodyPr/>
        <a:lstStyle/>
        <a:p>
          <a:endParaRPr lang="en-IN"/>
        </a:p>
      </dgm:t>
    </dgm:pt>
    <dgm:pt modelId="{4BEA8CF7-5DA8-442A-8ED0-7505F1D325EB}" type="sibTrans" cxnId="{C057C3D5-C827-431B-83A8-C2968B154FD6}">
      <dgm:prSet/>
      <dgm:spPr/>
      <dgm:t>
        <a:bodyPr/>
        <a:lstStyle/>
        <a:p>
          <a:endParaRPr lang="en-IN"/>
        </a:p>
      </dgm:t>
    </dgm:pt>
    <dgm:pt modelId="{536235DE-5BC6-40B3-95EA-6EE495ADB236}">
      <dgm:prSet/>
      <dgm:spPr/>
      <dgm:t>
        <a:bodyPr/>
        <a:lstStyle/>
        <a:p>
          <a:r>
            <a:rPr lang="en-IN" b="0"/>
            <a:t>2</a:t>
          </a:r>
          <a:r>
            <a:rPr lang="en-IN" b="0" i="0">
              <a:effectLst/>
            </a:rPr>
            <a:t>Under Storage &amp; Content Delivery, choose S3 to open the Amazon S3 console. ...</a:t>
          </a:r>
        </a:p>
      </dgm:t>
    </dgm:pt>
    <dgm:pt modelId="{26B46FD7-583C-4AA9-9715-2610B8B5C905}" type="parTrans" cxnId="{42EE7714-F485-48A6-9F0D-1AE38C14D9DB}">
      <dgm:prSet/>
      <dgm:spPr/>
      <dgm:t>
        <a:bodyPr/>
        <a:lstStyle/>
        <a:p>
          <a:endParaRPr lang="en-IN"/>
        </a:p>
      </dgm:t>
    </dgm:pt>
    <dgm:pt modelId="{6957B16C-3C31-40A8-91A7-1D17375BB12A}" type="sibTrans" cxnId="{42EE7714-F485-48A6-9F0D-1AE38C14D9DB}">
      <dgm:prSet/>
      <dgm:spPr/>
      <dgm:t>
        <a:bodyPr/>
        <a:lstStyle/>
        <a:p>
          <a:endParaRPr lang="en-IN"/>
        </a:p>
      </dgm:t>
    </dgm:pt>
    <dgm:pt modelId="{E06263B8-A36F-4215-AAFB-A555F7C1DFAE}">
      <dgm:prSet/>
      <dgm:spPr/>
      <dgm:t>
        <a:bodyPr/>
        <a:lstStyle/>
        <a:p>
          <a:r>
            <a:rPr lang="en-IN" b="0" i="0">
              <a:effectLst/>
            </a:rPr>
            <a:t>3From the Amazon S3 console dashboard, choose Create Bucket.</a:t>
          </a:r>
        </a:p>
      </dgm:t>
    </dgm:pt>
    <dgm:pt modelId="{778F8EFB-D265-4A97-9FB3-75EA5A1901C9}" type="parTrans" cxnId="{57511F3C-4AFF-4271-87FA-7CA94E34FD60}">
      <dgm:prSet/>
      <dgm:spPr/>
      <dgm:t>
        <a:bodyPr/>
        <a:lstStyle/>
        <a:p>
          <a:endParaRPr lang="en-IN"/>
        </a:p>
      </dgm:t>
    </dgm:pt>
    <dgm:pt modelId="{15CA8A4F-8FDA-4F7B-9F7F-0C1D90D6DBD6}" type="sibTrans" cxnId="{57511F3C-4AFF-4271-87FA-7CA94E34FD60}">
      <dgm:prSet/>
      <dgm:spPr/>
      <dgm:t>
        <a:bodyPr/>
        <a:lstStyle/>
        <a:p>
          <a:endParaRPr lang="en-IN"/>
        </a:p>
      </dgm:t>
    </dgm:pt>
    <dgm:pt modelId="{3137192A-11CF-48BF-9E3B-DDC35767D63A}">
      <dgm:prSet/>
      <dgm:spPr/>
      <dgm:t>
        <a:bodyPr/>
        <a:lstStyle/>
        <a:p>
          <a:r>
            <a:rPr lang="en-IN" b="0" i="0">
              <a:effectLst/>
            </a:rPr>
            <a:t>In Create a Bucket, type a bucket name in Bucket Name. ...</a:t>
          </a:r>
        </a:p>
      </dgm:t>
    </dgm:pt>
    <dgm:pt modelId="{33DA62C8-2495-4485-8172-FCAA8AECC66C}" type="parTrans" cxnId="{7F214595-D589-420B-9A4C-89F6387A5783}">
      <dgm:prSet/>
      <dgm:spPr/>
      <dgm:t>
        <a:bodyPr/>
        <a:lstStyle/>
        <a:p>
          <a:endParaRPr lang="en-IN"/>
        </a:p>
      </dgm:t>
    </dgm:pt>
    <dgm:pt modelId="{2D94C789-A277-4D61-9A74-11DFFFBF67B8}" type="sibTrans" cxnId="{7F214595-D589-420B-9A4C-89F6387A5783}">
      <dgm:prSet/>
      <dgm:spPr/>
      <dgm:t>
        <a:bodyPr/>
        <a:lstStyle/>
        <a:p>
          <a:endParaRPr lang="en-IN"/>
        </a:p>
      </dgm:t>
    </dgm:pt>
    <dgm:pt modelId="{7C75C96A-29EC-4834-84C1-55668DEE6739}" type="pres">
      <dgm:prSet presAssocID="{DDFCC408-BD3E-491B-B12B-034E1207A1AC}" presName="outerComposite" presStyleCnt="0">
        <dgm:presLayoutVars>
          <dgm:chMax val="5"/>
          <dgm:dir/>
          <dgm:resizeHandles val="exact"/>
        </dgm:presLayoutVars>
      </dgm:prSet>
      <dgm:spPr/>
    </dgm:pt>
    <dgm:pt modelId="{BF36F78F-B73C-4243-B5AD-A3083E0A08E0}" type="pres">
      <dgm:prSet presAssocID="{DDFCC408-BD3E-491B-B12B-034E1207A1AC}" presName="dummyMaxCanvas" presStyleCnt="0">
        <dgm:presLayoutVars/>
      </dgm:prSet>
      <dgm:spPr/>
    </dgm:pt>
    <dgm:pt modelId="{859E0E27-F78B-4761-A668-D7403F8DCF37}" type="pres">
      <dgm:prSet presAssocID="{DDFCC408-BD3E-491B-B12B-034E1207A1AC}" presName="FourNodes_1" presStyleLbl="node1" presStyleIdx="0" presStyleCnt="4">
        <dgm:presLayoutVars>
          <dgm:bulletEnabled val="1"/>
        </dgm:presLayoutVars>
      </dgm:prSet>
      <dgm:spPr/>
    </dgm:pt>
    <dgm:pt modelId="{A64A62E5-F5A6-4A35-ACFF-862DD0F2D33D}" type="pres">
      <dgm:prSet presAssocID="{DDFCC408-BD3E-491B-B12B-034E1207A1AC}" presName="FourNodes_2" presStyleLbl="node1" presStyleIdx="1" presStyleCnt="4">
        <dgm:presLayoutVars>
          <dgm:bulletEnabled val="1"/>
        </dgm:presLayoutVars>
      </dgm:prSet>
      <dgm:spPr/>
    </dgm:pt>
    <dgm:pt modelId="{2B34BEEF-5214-4711-BA9E-AE31421F7D5C}" type="pres">
      <dgm:prSet presAssocID="{DDFCC408-BD3E-491B-B12B-034E1207A1AC}" presName="FourNodes_3" presStyleLbl="node1" presStyleIdx="2" presStyleCnt="4">
        <dgm:presLayoutVars>
          <dgm:bulletEnabled val="1"/>
        </dgm:presLayoutVars>
      </dgm:prSet>
      <dgm:spPr/>
    </dgm:pt>
    <dgm:pt modelId="{194D1EBC-753D-467E-93B6-86CA5547F4E8}" type="pres">
      <dgm:prSet presAssocID="{DDFCC408-BD3E-491B-B12B-034E1207A1AC}" presName="FourNodes_4" presStyleLbl="node1" presStyleIdx="3" presStyleCnt="4">
        <dgm:presLayoutVars>
          <dgm:bulletEnabled val="1"/>
        </dgm:presLayoutVars>
      </dgm:prSet>
      <dgm:spPr/>
    </dgm:pt>
    <dgm:pt modelId="{A7879D2D-969A-4087-9ED6-2EF66683C044}" type="pres">
      <dgm:prSet presAssocID="{DDFCC408-BD3E-491B-B12B-034E1207A1AC}" presName="FourConn_1-2" presStyleLbl="fgAccFollowNode1" presStyleIdx="0" presStyleCnt="3">
        <dgm:presLayoutVars>
          <dgm:bulletEnabled val="1"/>
        </dgm:presLayoutVars>
      </dgm:prSet>
      <dgm:spPr/>
    </dgm:pt>
    <dgm:pt modelId="{9CA56FD7-3E00-49FB-9D4B-42A5BE289E54}" type="pres">
      <dgm:prSet presAssocID="{DDFCC408-BD3E-491B-B12B-034E1207A1AC}" presName="FourConn_2-3" presStyleLbl="fgAccFollowNode1" presStyleIdx="1" presStyleCnt="3">
        <dgm:presLayoutVars>
          <dgm:bulletEnabled val="1"/>
        </dgm:presLayoutVars>
      </dgm:prSet>
      <dgm:spPr/>
    </dgm:pt>
    <dgm:pt modelId="{1EE972BE-A48A-4736-AE33-BD7D196FE63E}" type="pres">
      <dgm:prSet presAssocID="{DDFCC408-BD3E-491B-B12B-034E1207A1AC}" presName="FourConn_3-4" presStyleLbl="fgAccFollowNode1" presStyleIdx="2" presStyleCnt="3">
        <dgm:presLayoutVars>
          <dgm:bulletEnabled val="1"/>
        </dgm:presLayoutVars>
      </dgm:prSet>
      <dgm:spPr/>
    </dgm:pt>
    <dgm:pt modelId="{60A4E825-987C-4B78-91B4-9D6B8565A64E}" type="pres">
      <dgm:prSet presAssocID="{DDFCC408-BD3E-491B-B12B-034E1207A1AC}" presName="FourNodes_1_text" presStyleLbl="node1" presStyleIdx="3" presStyleCnt="4">
        <dgm:presLayoutVars>
          <dgm:bulletEnabled val="1"/>
        </dgm:presLayoutVars>
      </dgm:prSet>
      <dgm:spPr/>
    </dgm:pt>
    <dgm:pt modelId="{1D5EDDC8-2AB2-4146-8B12-AE8C7AA00F51}" type="pres">
      <dgm:prSet presAssocID="{DDFCC408-BD3E-491B-B12B-034E1207A1AC}" presName="FourNodes_2_text" presStyleLbl="node1" presStyleIdx="3" presStyleCnt="4">
        <dgm:presLayoutVars>
          <dgm:bulletEnabled val="1"/>
        </dgm:presLayoutVars>
      </dgm:prSet>
      <dgm:spPr/>
    </dgm:pt>
    <dgm:pt modelId="{7F11834C-9B89-47C8-8A0E-3E4214F85B2E}" type="pres">
      <dgm:prSet presAssocID="{DDFCC408-BD3E-491B-B12B-034E1207A1AC}" presName="FourNodes_3_text" presStyleLbl="node1" presStyleIdx="3" presStyleCnt="4">
        <dgm:presLayoutVars>
          <dgm:bulletEnabled val="1"/>
        </dgm:presLayoutVars>
      </dgm:prSet>
      <dgm:spPr/>
    </dgm:pt>
    <dgm:pt modelId="{BEC4DD72-8081-4D31-9611-FB75B9A1BD83}" type="pres">
      <dgm:prSet presAssocID="{DDFCC408-BD3E-491B-B12B-034E1207A1AC}" presName="FourNodes_4_text" presStyleLbl="node1" presStyleIdx="3" presStyleCnt="4">
        <dgm:presLayoutVars>
          <dgm:bulletEnabled val="1"/>
        </dgm:presLayoutVars>
      </dgm:prSet>
      <dgm:spPr/>
    </dgm:pt>
  </dgm:ptLst>
  <dgm:cxnLst>
    <dgm:cxn modelId="{4AF62608-E443-4DF3-AAC6-8BD239785E52}" type="presOf" srcId="{15CA8A4F-8FDA-4F7B-9F7F-0C1D90D6DBD6}" destId="{1EE972BE-A48A-4736-AE33-BD7D196FE63E}" srcOrd="0" destOrd="0" presId="urn:microsoft.com/office/officeart/2005/8/layout/vProcess5"/>
    <dgm:cxn modelId="{8D74660D-1F24-431B-8B84-A6945B15A857}" type="presOf" srcId="{536235DE-5BC6-40B3-95EA-6EE495ADB236}" destId="{1D5EDDC8-2AB2-4146-8B12-AE8C7AA00F51}" srcOrd="1" destOrd="0" presId="urn:microsoft.com/office/officeart/2005/8/layout/vProcess5"/>
    <dgm:cxn modelId="{53F9DE13-FB4B-4BCF-9FAF-D05B4E6057F6}" type="presOf" srcId="{E06263B8-A36F-4215-AAFB-A555F7C1DFAE}" destId="{7F11834C-9B89-47C8-8A0E-3E4214F85B2E}" srcOrd="1" destOrd="0" presId="urn:microsoft.com/office/officeart/2005/8/layout/vProcess5"/>
    <dgm:cxn modelId="{42EE7714-F485-48A6-9F0D-1AE38C14D9DB}" srcId="{DDFCC408-BD3E-491B-B12B-034E1207A1AC}" destId="{536235DE-5BC6-40B3-95EA-6EE495ADB236}" srcOrd="1" destOrd="0" parTransId="{26B46FD7-583C-4AA9-9715-2610B8B5C905}" sibTransId="{6957B16C-3C31-40A8-91A7-1D17375BB12A}"/>
    <dgm:cxn modelId="{9045E516-0AD1-4A4A-A673-63407A152A54}" type="presOf" srcId="{6957B16C-3C31-40A8-91A7-1D17375BB12A}" destId="{9CA56FD7-3E00-49FB-9D4B-42A5BE289E54}" srcOrd="0" destOrd="0" presId="urn:microsoft.com/office/officeart/2005/8/layout/vProcess5"/>
    <dgm:cxn modelId="{52014A2E-77C6-444C-B62E-B796C5249FCE}" type="presOf" srcId="{3137192A-11CF-48BF-9E3B-DDC35767D63A}" destId="{BEC4DD72-8081-4D31-9611-FB75B9A1BD83}" srcOrd="1" destOrd="0" presId="urn:microsoft.com/office/officeart/2005/8/layout/vProcess5"/>
    <dgm:cxn modelId="{57511F3C-4AFF-4271-87FA-7CA94E34FD60}" srcId="{DDFCC408-BD3E-491B-B12B-034E1207A1AC}" destId="{E06263B8-A36F-4215-AAFB-A555F7C1DFAE}" srcOrd="2" destOrd="0" parTransId="{778F8EFB-D265-4A97-9FB3-75EA5A1901C9}" sibTransId="{15CA8A4F-8FDA-4F7B-9F7F-0C1D90D6DBD6}"/>
    <dgm:cxn modelId="{3A6DF87F-9A72-4DC0-8216-402BD2B25E1C}" type="presOf" srcId="{EDB61C3D-D94F-4ED3-A0A6-F498236C6EDC}" destId="{859E0E27-F78B-4761-A668-D7403F8DCF37}" srcOrd="0" destOrd="0" presId="urn:microsoft.com/office/officeart/2005/8/layout/vProcess5"/>
    <dgm:cxn modelId="{4DF7FE90-621D-4DFF-B54A-6B608B09D971}" type="presOf" srcId="{EDB61C3D-D94F-4ED3-A0A6-F498236C6EDC}" destId="{60A4E825-987C-4B78-91B4-9D6B8565A64E}" srcOrd="1" destOrd="0" presId="urn:microsoft.com/office/officeart/2005/8/layout/vProcess5"/>
    <dgm:cxn modelId="{7F214595-D589-420B-9A4C-89F6387A5783}" srcId="{DDFCC408-BD3E-491B-B12B-034E1207A1AC}" destId="{3137192A-11CF-48BF-9E3B-DDC35767D63A}" srcOrd="3" destOrd="0" parTransId="{33DA62C8-2495-4485-8172-FCAA8AECC66C}" sibTransId="{2D94C789-A277-4D61-9A74-11DFFFBF67B8}"/>
    <dgm:cxn modelId="{4130C695-E2B5-48E3-B4A1-B23020D3663A}" type="presOf" srcId="{4BEA8CF7-5DA8-442A-8ED0-7505F1D325EB}" destId="{A7879D2D-969A-4087-9ED6-2EF66683C044}" srcOrd="0" destOrd="0" presId="urn:microsoft.com/office/officeart/2005/8/layout/vProcess5"/>
    <dgm:cxn modelId="{8D0CFFC8-FE09-4C3F-B11F-6784559DCA2D}" type="presOf" srcId="{DDFCC408-BD3E-491B-B12B-034E1207A1AC}" destId="{7C75C96A-29EC-4834-84C1-55668DEE6739}" srcOrd="0" destOrd="0" presId="urn:microsoft.com/office/officeart/2005/8/layout/vProcess5"/>
    <dgm:cxn modelId="{4E9056CF-1935-472B-9184-8D1DB2135B71}" type="presOf" srcId="{536235DE-5BC6-40B3-95EA-6EE495ADB236}" destId="{A64A62E5-F5A6-4A35-ACFF-862DD0F2D33D}" srcOrd="0" destOrd="0" presId="urn:microsoft.com/office/officeart/2005/8/layout/vProcess5"/>
    <dgm:cxn modelId="{C057C3D5-C827-431B-83A8-C2968B154FD6}" srcId="{DDFCC408-BD3E-491B-B12B-034E1207A1AC}" destId="{EDB61C3D-D94F-4ED3-A0A6-F498236C6EDC}" srcOrd="0" destOrd="0" parTransId="{B93D8EE5-CDBA-4DB8-A76F-95B65BAB7222}" sibTransId="{4BEA8CF7-5DA8-442A-8ED0-7505F1D325EB}"/>
    <dgm:cxn modelId="{E078BCF4-1EC0-44E7-B536-3985A1BAECE7}" type="presOf" srcId="{3137192A-11CF-48BF-9E3B-DDC35767D63A}" destId="{194D1EBC-753D-467E-93B6-86CA5547F4E8}" srcOrd="0" destOrd="0" presId="urn:microsoft.com/office/officeart/2005/8/layout/vProcess5"/>
    <dgm:cxn modelId="{A8660DFB-E64D-4E2F-9F91-907B7D6F924B}" type="presOf" srcId="{E06263B8-A36F-4215-AAFB-A555F7C1DFAE}" destId="{2B34BEEF-5214-4711-BA9E-AE31421F7D5C}" srcOrd="0" destOrd="0" presId="urn:microsoft.com/office/officeart/2005/8/layout/vProcess5"/>
    <dgm:cxn modelId="{9A8A1D0F-58A0-4A6F-BD08-7BE3D6807024}" type="presParOf" srcId="{7C75C96A-29EC-4834-84C1-55668DEE6739}" destId="{BF36F78F-B73C-4243-B5AD-A3083E0A08E0}" srcOrd="0" destOrd="0" presId="urn:microsoft.com/office/officeart/2005/8/layout/vProcess5"/>
    <dgm:cxn modelId="{2F3AB35D-8D90-4022-8701-884E7C6880B4}" type="presParOf" srcId="{7C75C96A-29EC-4834-84C1-55668DEE6739}" destId="{859E0E27-F78B-4761-A668-D7403F8DCF37}" srcOrd="1" destOrd="0" presId="urn:microsoft.com/office/officeart/2005/8/layout/vProcess5"/>
    <dgm:cxn modelId="{AB71413F-D4EA-4551-8DE0-F15122CA8137}" type="presParOf" srcId="{7C75C96A-29EC-4834-84C1-55668DEE6739}" destId="{A64A62E5-F5A6-4A35-ACFF-862DD0F2D33D}" srcOrd="2" destOrd="0" presId="urn:microsoft.com/office/officeart/2005/8/layout/vProcess5"/>
    <dgm:cxn modelId="{8FB80329-042F-474B-A070-B3F49860C5AE}" type="presParOf" srcId="{7C75C96A-29EC-4834-84C1-55668DEE6739}" destId="{2B34BEEF-5214-4711-BA9E-AE31421F7D5C}" srcOrd="3" destOrd="0" presId="urn:microsoft.com/office/officeart/2005/8/layout/vProcess5"/>
    <dgm:cxn modelId="{C62EBE44-BC53-42A9-9E22-62A53DDEFE26}" type="presParOf" srcId="{7C75C96A-29EC-4834-84C1-55668DEE6739}" destId="{194D1EBC-753D-467E-93B6-86CA5547F4E8}" srcOrd="4" destOrd="0" presId="urn:microsoft.com/office/officeart/2005/8/layout/vProcess5"/>
    <dgm:cxn modelId="{F321AF5F-909A-4A43-8187-F43D1EA6C604}" type="presParOf" srcId="{7C75C96A-29EC-4834-84C1-55668DEE6739}" destId="{A7879D2D-969A-4087-9ED6-2EF66683C044}" srcOrd="5" destOrd="0" presId="urn:microsoft.com/office/officeart/2005/8/layout/vProcess5"/>
    <dgm:cxn modelId="{3BBDE6E2-67BD-4836-B103-2FC60E9AC2B4}" type="presParOf" srcId="{7C75C96A-29EC-4834-84C1-55668DEE6739}" destId="{9CA56FD7-3E00-49FB-9D4B-42A5BE289E54}" srcOrd="6" destOrd="0" presId="urn:microsoft.com/office/officeart/2005/8/layout/vProcess5"/>
    <dgm:cxn modelId="{74FFB323-EDE8-4892-A7D3-B9A341301204}" type="presParOf" srcId="{7C75C96A-29EC-4834-84C1-55668DEE6739}" destId="{1EE972BE-A48A-4736-AE33-BD7D196FE63E}" srcOrd="7" destOrd="0" presId="urn:microsoft.com/office/officeart/2005/8/layout/vProcess5"/>
    <dgm:cxn modelId="{04004E65-4255-4955-B5D9-83C0B3148604}" type="presParOf" srcId="{7C75C96A-29EC-4834-84C1-55668DEE6739}" destId="{60A4E825-987C-4B78-91B4-9D6B8565A64E}" srcOrd="8" destOrd="0" presId="urn:microsoft.com/office/officeart/2005/8/layout/vProcess5"/>
    <dgm:cxn modelId="{94F09F02-6FB3-4F73-ACB6-33613393D5C8}" type="presParOf" srcId="{7C75C96A-29EC-4834-84C1-55668DEE6739}" destId="{1D5EDDC8-2AB2-4146-8B12-AE8C7AA00F51}" srcOrd="9" destOrd="0" presId="urn:microsoft.com/office/officeart/2005/8/layout/vProcess5"/>
    <dgm:cxn modelId="{DD9234B8-DBA7-43E7-A337-8F2C8C3B144D}" type="presParOf" srcId="{7C75C96A-29EC-4834-84C1-55668DEE6739}" destId="{7F11834C-9B89-47C8-8A0E-3E4214F85B2E}" srcOrd="10" destOrd="0" presId="urn:microsoft.com/office/officeart/2005/8/layout/vProcess5"/>
    <dgm:cxn modelId="{688802AC-2B03-4DA6-95A5-BDFD51988C87}" type="presParOf" srcId="{7C75C96A-29EC-4834-84C1-55668DEE6739}" destId="{BEC4DD72-8081-4D31-9611-FB75B9A1BD83}"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DFCC408-BD3E-491B-B12B-034E1207A1AC}" type="doc">
      <dgm:prSet loTypeId="urn:microsoft.com/office/officeart/2005/8/layout/default" loCatId="list" qsTypeId="urn:microsoft.com/office/officeart/2005/8/quickstyle/simple4" qsCatId="simple" csTypeId="urn:microsoft.com/office/officeart/2005/8/colors/accent2_2" csCatId="accent2" phldr="1"/>
      <dgm:spPr/>
      <dgm:t>
        <a:bodyPr/>
        <a:lstStyle/>
        <a:p>
          <a:endParaRPr lang="en-US"/>
        </a:p>
      </dgm:t>
    </dgm:pt>
    <dgm:pt modelId="{25F8D954-C07C-4452-92F8-5E63FD300E94}">
      <dgm:prSet/>
      <dgm:spPr/>
      <dgm:t>
        <a:bodyPr/>
        <a:lstStyle/>
        <a:p>
          <a:r>
            <a:rPr lang="en-IN" b="0" i="0">
              <a:solidFill>
                <a:srgbClr val="16191F"/>
              </a:solidFill>
              <a:effectLst/>
            </a:rPr>
            <a:t>Sign into the </a:t>
          </a:r>
          <a:r>
            <a:rPr lang="en-IN" b="0" i="0" strike="noStrike">
              <a:solidFill>
                <a:schemeClr val="tx1"/>
              </a:solidFill>
              <a:effectLst/>
              <a:hlinkClick xmlns:r="http://schemas.openxmlformats.org/officeDocument/2006/relationships" r:id="rId1">
                <a:extLst>
                  <a:ext uri="{A12FA001-AC4F-418D-AE19-62706E023703}">
                    <ahyp:hlinkClr xmlns:ahyp="http://schemas.microsoft.com/office/drawing/2018/hyperlinkcolor" val="tx"/>
                  </a:ext>
                </a:extLst>
              </a:hlinkClick>
            </a:rPr>
            <a:t>AWS Management Console</a:t>
          </a:r>
          <a:endParaRPr lang="en-IN" b="0" i="0" strike="noStrike" dirty="0">
            <a:solidFill>
              <a:schemeClr val="tx1"/>
            </a:solidFill>
            <a:effectLst/>
          </a:endParaRPr>
        </a:p>
      </dgm:t>
    </dgm:pt>
    <dgm:pt modelId="{BA0BF3B2-32D3-4A28-820B-C36BD86F8685}" type="parTrans" cxnId="{26561919-ED77-4765-89F9-72ACB33A6E45}">
      <dgm:prSet/>
      <dgm:spPr/>
      <dgm:t>
        <a:bodyPr/>
        <a:lstStyle/>
        <a:p>
          <a:endParaRPr lang="en-IN"/>
        </a:p>
      </dgm:t>
    </dgm:pt>
    <dgm:pt modelId="{89799DEE-14A8-4AF5-B35C-9E4293EF1555}" type="sibTrans" cxnId="{26561919-ED77-4765-89F9-72ACB33A6E45}">
      <dgm:prSet/>
      <dgm:spPr/>
      <dgm:t>
        <a:bodyPr/>
        <a:lstStyle/>
        <a:p>
          <a:endParaRPr lang="en-IN"/>
        </a:p>
      </dgm:t>
    </dgm:pt>
    <dgm:pt modelId="{644FF3C1-0CC2-471C-B52E-4C0E740FFD65}">
      <dgm:prSet/>
      <dgm:spPr/>
      <dgm:t>
        <a:bodyPr/>
        <a:lstStyle/>
        <a:p>
          <a:r>
            <a:rPr lang="en-IN" b="0" i="0" dirty="0">
              <a:solidFill>
                <a:schemeClr val="tx1"/>
              </a:solidFill>
              <a:effectLst/>
            </a:rPr>
            <a:t>From the Services menu, open the </a:t>
          </a:r>
          <a:r>
            <a:rPr lang="en-IN" b="0" i="0" strike="noStrike" dirty="0">
              <a:solidFill>
                <a:schemeClr val="tx1"/>
              </a:solidFill>
              <a:effectLst/>
              <a:hlinkClick xmlns:r="http://schemas.openxmlformats.org/officeDocument/2006/relationships" r:id="rId2">
                <a:extLst>
                  <a:ext uri="{A12FA001-AC4F-418D-AE19-62706E023703}">
                    <ahyp:hlinkClr xmlns:ahyp="http://schemas.microsoft.com/office/drawing/2018/hyperlinkcolor" val="tx"/>
                  </a:ext>
                </a:extLst>
              </a:hlinkClick>
            </a:rPr>
            <a:t>IAM console</a:t>
          </a:r>
          <a:endParaRPr lang="en-IN" b="0" dirty="0">
            <a:solidFill>
              <a:schemeClr val="tx1"/>
            </a:solidFill>
          </a:endParaRPr>
        </a:p>
      </dgm:t>
    </dgm:pt>
    <dgm:pt modelId="{A403F307-DC2C-495B-911F-DFCC9E8D1306}" type="parTrans" cxnId="{7EA75280-15E3-4B10-8B9E-61DD56B1FED9}">
      <dgm:prSet/>
      <dgm:spPr/>
      <dgm:t>
        <a:bodyPr/>
        <a:lstStyle/>
        <a:p>
          <a:endParaRPr lang="en-IN"/>
        </a:p>
      </dgm:t>
    </dgm:pt>
    <dgm:pt modelId="{03FA5775-7ADC-4B39-AD67-70408C0F0478}" type="sibTrans" cxnId="{7EA75280-15E3-4B10-8B9E-61DD56B1FED9}">
      <dgm:prSet/>
      <dgm:spPr/>
      <dgm:t>
        <a:bodyPr/>
        <a:lstStyle/>
        <a:p>
          <a:endParaRPr lang="en-IN"/>
        </a:p>
      </dgm:t>
    </dgm:pt>
    <dgm:pt modelId="{962106F5-1936-40E2-A8C7-2C73FE7F1FDE}">
      <dgm:prSet/>
      <dgm:spPr/>
      <dgm:t>
        <a:bodyPr/>
        <a:lstStyle/>
        <a:p>
          <a:r>
            <a:rPr lang="en-IN" b="0" i="0" dirty="0">
              <a:solidFill>
                <a:srgbClr val="00B0F0"/>
              </a:solidFill>
              <a:effectLst/>
            </a:rPr>
            <a:t>3</a:t>
          </a:r>
          <a:r>
            <a:rPr lang="en-IN" b="0" i="0" dirty="0">
              <a:solidFill>
                <a:srgbClr val="16191F"/>
              </a:solidFill>
              <a:effectLst/>
            </a:rPr>
            <a:t>In the Navigation pane, choose Roles, and then choose Create role</a:t>
          </a:r>
          <a:r>
            <a:rPr lang="en-IN" b="0" dirty="0">
              <a:solidFill>
                <a:srgbClr val="16191F"/>
              </a:solidFill>
            </a:rPr>
            <a:t> </a:t>
          </a:r>
        </a:p>
      </dgm:t>
    </dgm:pt>
    <dgm:pt modelId="{522E3189-2746-4B42-9A43-322CE022D2AC}" type="parTrans" cxnId="{6F66E9B6-C58A-4E7C-B621-4027C30B20C3}">
      <dgm:prSet/>
      <dgm:spPr/>
      <dgm:t>
        <a:bodyPr/>
        <a:lstStyle/>
        <a:p>
          <a:endParaRPr lang="en-IN"/>
        </a:p>
      </dgm:t>
    </dgm:pt>
    <dgm:pt modelId="{E27445C4-D7B7-49CA-8D2D-8063E9B6E6C5}" type="sibTrans" cxnId="{6F66E9B6-C58A-4E7C-B621-4027C30B20C3}">
      <dgm:prSet/>
      <dgm:spPr/>
      <dgm:t>
        <a:bodyPr/>
        <a:lstStyle/>
        <a:p>
          <a:endParaRPr lang="en-IN"/>
        </a:p>
      </dgm:t>
    </dgm:pt>
    <dgm:pt modelId="{01BFF0D9-B469-4422-AE9F-E98932C9F11B}">
      <dgm:prSet/>
      <dgm:spPr/>
      <dgm:t>
        <a:bodyPr/>
        <a:lstStyle/>
        <a:p>
          <a:r>
            <a:rPr lang="en-IN" b="0" i="0">
              <a:solidFill>
                <a:srgbClr val="00B0F0"/>
              </a:solidFill>
              <a:effectLst/>
            </a:rPr>
            <a:t>4.</a:t>
          </a:r>
          <a:r>
            <a:rPr lang="en-IN" b="0" i="0">
              <a:solidFill>
                <a:srgbClr val="16191F"/>
              </a:solidFill>
              <a:effectLst/>
            </a:rPr>
            <a:t>For Select type of trusted entity, choose AWS service, and then choose Lambda for the service that will use this role. Then choose Next: Permissions</a:t>
          </a:r>
          <a:endParaRPr lang="en-IN" b="0" dirty="0">
            <a:solidFill>
              <a:srgbClr val="16191F"/>
            </a:solidFill>
          </a:endParaRPr>
        </a:p>
      </dgm:t>
    </dgm:pt>
    <dgm:pt modelId="{B731F158-5C32-4D60-AC15-55009427D433}" type="parTrans" cxnId="{C439A514-1E4C-43EC-87FB-5E6391B9FF38}">
      <dgm:prSet/>
      <dgm:spPr/>
      <dgm:t>
        <a:bodyPr/>
        <a:lstStyle/>
        <a:p>
          <a:endParaRPr lang="en-IN"/>
        </a:p>
      </dgm:t>
    </dgm:pt>
    <dgm:pt modelId="{EE19C74F-062D-4C13-BFF0-995C2218ED28}" type="sibTrans" cxnId="{C439A514-1E4C-43EC-87FB-5E6391B9FF38}">
      <dgm:prSet/>
      <dgm:spPr/>
      <dgm:t>
        <a:bodyPr/>
        <a:lstStyle/>
        <a:p>
          <a:endParaRPr lang="en-IN"/>
        </a:p>
      </dgm:t>
    </dgm:pt>
    <dgm:pt modelId="{BFC32A51-CCEC-405F-B2D7-061BB813EE33}">
      <dgm:prSet/>
      <dgm:spPr/>
      <dgm:t>
        <a:bodyPr/>
        <a:lstStyle/>
        <a:p>
          <a:r>
            <a:rPr lang="en-US" b="0" i="0">
              <a:solidFill>
                <a:srgbClr val="00B0F0"/>
              </a:solidFill>
              <a:effectLst/>
            </a:rPr>
            <a:t>6.</a:t>
          </a:r>
          <a:r>
            <a:rPr kumimoji="0" lang="en-US" altLang="en-US" b="0" i="0" u="none" strike="noStrike" cap="none" normalizeH="0" baseline="0">
              <a:ln>
                <a:noFill/>
              </a:ln>
              <a:solidFill>
                <a:srgbClr val="00B0F0"/>
              </a:solidFill>
              <a:effectLst/>
            </a:rPr>
            <a:t> </a:t>
          </a:r>
          <a:r>
            <a:rPr kumimoji="0" lang="en-US" altLang="en-US" b="0" i="0" u="none" strike="noStrike" cap="none" normalizeH="0" baseline="0">
              <a:ln>
                <a:noFill/>
              </a:ln>
              <a:solidFill>
                <a:srgbClr val="16191F"/>
              </a:solidFill>
              <a:effectLst/>
            </a:rPr>
            <a:t>Add a name for your role, such as hello-lambda-role, and a description for the role. Then choose Create role to finish creating the IAM role</a:t>
          </a:r>
          <a:r>
            <a:rPr kumimoji="0" lang="en-US" altLang="en-US" b="0" i="0" u="none" strike="noStrike" cap="none" normalizeH="0" baseline="0">
              <a:ln>
                <a:noFill/>
              </a:ln>
              <a:solidFill>
                <a:schemeClr val="tx1"/>
              </a:solidFill>
              <a:effectLst/>
            </a:rPr>
            <a:t> </a:t>
          </a:r>
          <a:endParaRPr kumimoji="0" lang="en-US" altLang="en-US" b="0" i="0" u="none" strike="noStrike" cap="none" normalizeH="0" baseline="0" dirty="0">
            <a:ln>
              <a:noFill/>
            </a:ln>
            <a:solidFill>
              <a:schemeClr val="tx1"/>
            </a:solidFill>
            <a:effectLst/>
          </a:endParaRPr>
        </a:p>
      </dgm:t>
    </dgm:pt>
    <dgm:pt modelId="{EA4FCE12-CA2E-49AA-BBE4-C20F9564EAC1}" type="parTrans" cxnId="{542CB7FC-213F-4E07-B867-A67A87FA684A}">
      <dgm:prSet/>
      <dgm:spPr/>
      <dgm:t>
        <a:bodyPr/>
        <a:lstStyle/>
        <a:p>
          <a:endParaRPr lang="en-IN"/>
        </a:p>
      </dgm:t>
    </dgm:pt>
    <dgm:pt modelId="{8AF35DB2-9205-4D4F-AD5C-E5CCD519736D}" type="sibTrans" cxnId="{542CB7FC-213F-4E07-B867-A67A87FA684A}">
      <dgm:prSet/>
      <dgm:spPr/>
      <dgm:t>
        <a:bodyPr/>
        <a:lstStyle/>
        <a:p>
          <a:endParaRPr lang="en-IN"/>
        </a:p>
      </dgm:t>
    </dgm:pt>
    <dgm:pt modelId="{B554BF68-6D60-427F-8D7D-166011DA6521}" type="pres">
      <dgm:prSet presAssocID="{DDFCC408-BD3E-491B-B12B-034E1207A1AC}" presName="diagram" presStyleCnt="0">
        <dgm:presLayoutVars>
          <dgm:dir/>
          <dgm:resizeHandles val="exact"/>
        </dgm:presLayoutVars>
      </dgm:prSet>
      <dgm:spPr/>
    </dgm:pt>
    <dgm:pt modelId="{75E364FA-351F-4BEF-A35F-D6665C9B0BC1}" type="pres">
      <dgm:prSet presAssocID="{25F8D954-C07C-4452-92F8-5E63FD300E94}" presName="node" presStyleLbl="node1" presStyleIdx="0" presStyleCnt="5">
        <dgm:presLayoutVars>
          <dgm:bulletEnabled val="1"/>
        </dgm:presLayoutVars>
      </dgm:prSet>
      <dgm:spPr/>
    </dgm:pt>
    <dgm:pt modelId="{A78A6AB5-1EA2-46B8-B57C-3239213A7346}" type="pres">
      <dgm:prSet presAssocID="{89799DEE-14A8-4AF5-B35C-9E4293EF1555}" presName="sibTrans" presStyleCnt="0"/>
      <dgm:spPr/>
    </dgm:pt>
    <dgm:pt modelId="{42358244-B7ED-4EAA-8B2D-D4DC2AE6AB9C}" type="pres">
      <dgm:prSet presAssocID="{644FF3C1-0CC2-471C-B52E-4C0E740FFD65}" presName="node" presStyleLbl="node1" presStyleIdx="1" presStyleCnt="5">
        <dgm:presLayoutVars>
          <dgm:bulletEnabled val="1"/>
        </dgm:presLayoutVars>
      </dgm:prSet>
      <dgm:spPr/>
    </dgm:pt>
    <dgm:pt modelId="{2CD46E89-BF69-4BBB-9694-01307AA89D12}" type="pres">
      <dgm:prSet presAssocID="{03FA5775-7ADC-4B39-AD67-70408C0F0478}" presName="sibTrans" presStyleCnt="0"/>
      <dgm:spPr/>
    </dgm:pt>
    <dgm:pt modelId="{A07A7D53-B46F-4C70-AEBA-FC23BDF74BCD}" type="pres">
      <dgm:prSet presAssocID="{962106F5-1936-40E2-A8C7-2C73FE7F1FDE}" presName="node" presStyleLbl="node1" presStyleIdx="2" presStyleCnt="5">
        <dgm:presLayoutVars>
          <dgm:bulletEnabled val="1"/>
        </dgm:presLayoutVars>
      </dgm:prSet>
      <dgm:spPr/>
    </dgm:pt>
    <dgm:pt modelId="{D7DBE49C-08BD-4BE6-9214-E58CF17C2A29}" type="pres">
      <dgm:prSet presAssocID="{E27445C4-D7B7-49CA-8D2D-8063E9B6E6C5}" presName="sibTrans" presStyleCnt="0"/>
      <dgm:spPr/>
    </dgm:pt>
    <dgm:pt modelId="{13AF6764-C950-4FAA-80AA-83BA08C19FD9}" type="pres">
      <dgm:prSet presAssocID="{01BFF0D9-B469-4422-AE9F-E98932C9F11B}" presName="node" presStyleLbl="node1" presStyleIdx="3" presStyleCnt="5">
        <dgm:presLayoutVars>
          <dgm:bulletEnabled val="1"/>
        </dgm:presLayoutVars>
      </dgm:prSet>
      <dgm:spPr/>
    </dgm:pt>
    <dgm:pt modelId="{02BB08CF-3A49-4C56-8A2F-16C3578A809F}" type="pres">
      <dgm:prSet presAssocID="{EE19C74F-062D-4C13-BFF0-995C2218ED28}" presName="sibTrans" presStyleCnt="0"/>
      <dgm:spPr/>
    </dgm:pt>
    <dgm:pt modelId="{27C7B4F9-DD03-444F-AAFB-AAF29E8C84EF}" type="pres">
      <dgm:prSet presAssocID="{BFC32A51-CCEC-405F-B2D7-061BB813EE33}" presName="node" presStyleLbl="node1" presStyleIdx="4" presStyleCnt="5">
        <dgm:presLayoutVars>
          <dgm:bulletEnabled val="1"/>
        </dgm:presLayoutVars>
      </dgm:prSet>
      <dgm:spPr/>
    </dgm:pt>
  </dgm:ptLst>
  <dgm:cxnLst>
    <dgm:cxn modelId="{C439A514-1E4C-43EC-87FB-5E6391B9FF38}" srcId="{DDFCC408-BD3E-491B-B12B-034E1207A1AC}" destId="{01BFF0D9-B469-4422-AE9F-E98932C9F11B}" srcOrd="3" destOrd="0" parTransId="{B731F158-5C32-4D60-AC15-55009427D433}" sibTransId="{EE19C74F-062D-4C13-BFF0-995C2218ED28}"/>
    <dgm:cxn modelId="{26561919-ED77-4765-89F9-72ACB33A6E45}" srcId="{DDFCC408-BD3E-491B-B12B-034E1207A1AC}" destId="{25F8D954-C07C-4452-92F8-5E63FD300E94}" srcOrd="0" destOrd="0" parTransId="{BA0BF3B2-32D3-4A28-820B-C36BD86F8685}" sibTransId="{89799DEE-14A8-4AF5-B35C-9E4293EF1555}"/>
    <dgm:cxn modelId="{0A13CE69-8C58-4238-96C2-F0D3E3D0709C}" type="presOf" srcId="{25F8D954-C07C-4452-92F8-5E63FD300E94}" destId="{75E364FA-351F-4BEF-A35F-D6665C9B0BC1}" srcOrd="0" destOrd="0" presId="urn:microsoft.com/office/officeart/2005/8/layout/default"/>
    <dgm:cxn modelId="{7EA75280-15E3-4B10-8B9E-61DD56B1FED9}" srcId="{DDFCC408-BD3E-491B-B12B-034E1207A1AC}" destId="{644FF3C1-0CC2-471C-B52E-4C0E740FFD65}" srcOrd="1" destOrd="0" parTransId="{A403F307-DC2C-495B-911F-DFCC9E8D1306}" sibTransId="{03FA5775-7ADC-4B39-AD67-70408C0F0478}"/>
    <dgm:cxn modelId="{1874B880-87C8-418A-8097-E3D972B580CB}" type="presOf" srcId="{962106F5-1936-40E2-A8C7-2C73FE7F1FDE}" destId="{A07A7D53-B46F-4C70-AEBA-FC23BDF74BCD}" srcOrd="0" destOrd="0" presId="urn:microsoft.com/office/officeart/2005/8/layout/default"/>
    <dgm:cxn modelId="{FB19E695-1024-46DF-B699-6031456956AF}" type="presOf" srcId="{644FF3C1-0CC2-471C-B52E-4C0E740FFD65}" destId="{42358244-B7ED-4EAA-8B2D-D4DC2AE6AB9C}" srcOrd="0" destOrd="0" presId="urn:microsoft.com/office/officeart/2005/8/layout/default"/>
    <dgm:cxn modelId="{B3105F99-8B42-4CE1-8F83-FF42FB2F984A}" type="presOf" srcId="{DDFCC408-BD3E-491B-B12B-034E1207A1AC}" destId="{B554BF68-6D60-427F-8D7D-166011DA6521}" srcOrd="0" destOrd="0" presId="urn:microsoft.com/office/officeart/2005/8/layout/default"/>
    <dgm:cxn modelId="{994D68B5-B271-407D-80C1-D89C2AE9E6BF}" type="presOf" srcId="{01BFF0D9-B469-4422-AE9F-E98932C9F11B}" destId="{13AF6764-C950-4FAA-80AA-83BA08C19FD9}" srcOrd="0" destOrd="0" presId="urn:microsoft.com/office/officeart/2005/8/layout/default"/>
    <dgm:cxn modelId="{6F66E9B6-C58A-4E7C-B621-4027C30B20C3}" srcId="{DDFCC408-BD3E-491B-B12B-034E1207A1AC}" destId="{962106F5-1936-40E2-A8C7-2C73FE7F1FDE}" srcOrd="2" destOrd="0" parTransId="{522E3189-2746-4B42-9A43-322CE022D2AC}" sibTransId="{E27445C4-D7B7-49CA-8D2D-8063E9B6E6C5}"/>
    <dgm:cxn modelId="{C6A517EC-04E0-42CE-A29B-742644B2BFBA}" type="presOf" srcId="{BFC32A51-CCEC-405F-B2D7-061BB813EE33}" destId="{27C7B4F9-DD03-444F-AAFB-AAF29E8C84EF}" srcOrd="0" destOrd="0" presId="urn:microsoft.com/office/officeart/2005/8/layout/default"/>
    <dgm:cxn modelId="{542CB7FC-213F-4E07-B867-A67A87FA684A}" srcId="{DDFCC408-BD3E-491B-B12B-034E1207A1AC}" destId="{BFC32A51-CCEC-405F-B2D7-061BB813EE33}" srcOrd="4" destOrd="0" parTransId="{EA4FCE12-CA2E-49AA-BBE4-C20F9564EAC1}" sibTransId="{8AF35DB2-9205-4D4F-AD5C-E5CCD519736D}"/>
    <dgm:cxn modelId="{DA37F6BC-5226-4719-B88F-254761EF71BC}" type="presParOf" srcId="{B554BF68-6D60-427F-8D7D-166011DA6521}" destId="{75E364FA-351F-4BEF-A35F-D6665C9B0BC1}" srcOrd="0" destOrd="0" presId="urn:microsoft.com/office/officeart/2005/8/layout/default"/>
    <dgm:cxn modelId="{91442CB2-1ABC-407F-A3A5-7B6E74DA52AD}" type="presParOf" srcId="{B554BF68-6D60-427F-8D7D-166011DA6521}" destId="{A78A6AB5-1EA2-46B8-B57C-3239213A7346}" srcOrd="1" destOrd="0" presId="urn:microsoft.com/office/officeart/2005/8/layout/default"/>
    <dgm:cxn modelId="{EFC2C15A-494F-4AD0-AD54-4D8A11290AC4}" type="presParOf" srcId="{B554BF68-6D60-427F-8D7D-166011DA6521}" destId="{42358244-B7ED-4EAA-8B2D-D4DC2AE6AB9C}" srcOrd="2" destOrd="0" presId="urn:microsoft.com/office/officeart/2005/8/layout/default"/>
    <dgm:cxn modelId="{E6267DA7-EF19-4FA1-95DA-82DA96E8BA17}" type="presParOf" srcId="{B554BF68-6D60-427F-8D7D-166011DA6521}" destId="{2CD46E89-BF69-4BBB-9694-01307AA89D12}" srcOrd="3" destOrd="0" presId="urn:microsoft.com/office/officeart/2005/8/layout/default"/>
    <dgm:cxn modelId="{8B38ACDE-5E87-4203-B9EB-613F490D36D3}" type="presParOf" srcId="{B554BF68-6D60-427F-8D7D-166011DA6521}" destId="{A07A7D53-B46F-4C70-AEBA-FC23BDF74BCD}" srcOrd="4" destOrd="0" presId="urn:microsoft.com/office/officeart/2005/8/layout/default"/>
    <dgm:cxn modelId="{B593A13E-7D4F-41E3-8A4A-D73047BD99C1}" type="presParOf" srcId="{B554BF68-6D60-427F-8D7D-166011DA6521}" destId="{D7DBE49C-08BD-4BE6-9214-E58CF17C2A29}" srcOrd="5" destOrd="0" presId="urn:microsoft.com/office/officeart/2005/8/layout/default"/>
    <dgm:cxn modelId="{637AF37D-2DB6-4508-98EA-0A955267E031}" type="presParOf" srcId="{B554BF68-6D60-427F-8D7D-166011DA6521}" destId="{13AF6764-C950-4FAA-80AA-83BA08C19FD9}" srcOrd="6" destOrd="0" presId="urn:microsoft.com/office/officeart/2005/8/layout/default"/>
    <dgm:cxn modelId="{CEA00404-2876-4D09-BF07-DA4546172E98}" type="presParOf" srcId="{B554BF68-6D60-427F-8D7D-166011DA6521}" destId="{02BB08CF-3A49-4C56-8A2F-16C3578A809F}" srcOrd="7" destOrd="0" presId="urn:microsoft.com/office/officeart/2005/8/layout/default"/>
    <dgm:cxn modelId="{429DCAC0-CE44-4B34-BD39-80BC9C6CE688}" type="presParOf" srcId="{B554BF68-6D60-427F-8D7D-166011DA6521}" destId="{27C7B4F9-DD03-444F-AAFB-AAF29E8C84EF}"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A4FC5B8-B059-4967-A854-C42774311E4A}" type="doc">
      <dgm:prSet loTypeId="urn:microsoft.com/office/officeart/2016/7/layout/RepeatingBendingProcessNew" loCatId="process" qsTypeId="urn:microsoft.com/office/officeart/2005/8/quickstyle/simple1" qsCatId="simple" csTypeId="urn:microsoft.com/office/officeart/2005/8/colors/accent1_2" csCatId="accent1" phldr="1"/>
      <dgm:spPr/>
      <dgm:t>
        <a:bodyPr/>
        <a:lstStyle/>
        <a:p>
          <a:endParaRPr lang="en-US"/>
        </a:p>
      </dgm:t>
    </dgm:pt>
    <dgm:pt modelId="{DE98D0CD-8459-47EF-9808-150C716E1D91}">
      <dgm:prSet/>
      <dgm:spPr/>
      <dgm:t>
        <a:bodyPr/>
        <a:lstStyle/>
        <a:p>
          <a:r>
            <a:rPr lang="en-IN" b="0" i="0"/>
            <a:t>Navigate to Lambda.</a:t>
          </a:r>
          <a:endParaRPr lang="en-US"/>
        </a:p>
      </dgm:t>
    </dgm:pt>
    <dgm:pt modelId="{4C769A2B-951E-488D-896C-13422B06EAF7}" type="parTrans" cxnId="{67C85D39-C82E-44BA-9C7E-3269F5517703}">
      <dgm:prSet/>
      <dgm:spPr/>
      <dgm:t>
        <a:bodyPr/>
        <a:lstStyle/>
        <a:p>
          <a:endParaRPr lang="en-US"/>
        </a:p>
      </dgm:t>
    </dgm:pt>
    <dgm:pt modelId="{D627E300-0D53-41D9-8D2F-3B4F3C152FB2}" type="sibTrans" cxnId="{67C85D39-C82E-44BA-9C7E-3269F5517703}">
      <dgm:prSet/>
      <dgm:spPr/>
      <dgm:t>
        <a:bodyPr/>
        <a:lstStyle/>
        <a:p>
          <a:endParaRPr lang="en-US"/>
        </a:p>
      </dgm:t>
    </dgm:pt>
    <dgm:pt modelId="{5AB0AAC4-3590-42A3-9233-9A60803644F2}">
      <dgm:prSet/>
      <dgm:spPr/>
      <dgm:t>
        <a:bodyPr/>
        <a:lstStyle/>
        <a:p>
          <a:r>
            <a:rPr lang="en-IN" b="0" i="0" dirty="0"/>
            <a:t>Provide a function name</a:t>
          </a:r>
          <a:endParaRPr lang="en-US" dirty="0"/>
        </a:p>
      </dgm:t>
    </dgm:pt>
    <dgm:pt modelId="{F85D31E1-9566-424E-85E4-EA70D95AA51D}" type="parTrans" cxnId="{E873BE37-8304-40E8-A491-92ACB19D2AA1}">
      <dgm:prSet/>
      <dgm:spPr/>
      <dgm:t>
        <a:bodyPr/>
        <a:lstStyle/>
        <a:p>
          <a:endParaRPr lang="en-US"/>
        </a:p>
      </dgm:t>
    </dgm:pt>
    <dgm:pt modelId="{00442152-523B-4346-9DA1-A7FAF0AB0FA5}" type="sibTrans" cxnId="{E873BE37-8304-40E8-A491-92ACB19D2AA1}">
      <dgm:prSet/>
      <dgm:spPr/>
      <dgm:t>
        <a:bodyPr/>
        <a:lstStyle/>
        <a:p>
          <a:endParaRPr lang="en-US"/>
        </a:p>
      </dgm:t>
    </dgm:pt>
    <dgm:pt modelId="{6AB9ABE9-39CA-4973-BD6D-521CC2DB7CCD}">
      <dgm:prSet/>
      <dgm:spPr/>
      <dgm:t>
        <a:bodyPr/>
        <a:lstStyle/>
        <a:p>
          <a:r>
            <a:rPr lang="en-IN" b="0" i="0" dirty="0"/>
            <a:t>Select Program Language.</a:t>
          </a:r>
          <a:endParaRPr lang="en-US" dirty="0"/>
        </a:p>
      </dgm:t>
    </dgm:pt>
    <dgm:pt modelId="{33CF860E-B8CC-4EA1-93B1-A0B708992D33}" type="parTrans" cxnId="{FF4B39D3-B86C-4E11-8DB8-7D0FB9DFFB02}">
      <dgm:prSet/>
      <dgm:spPr/>
      <dgm:t>
        <a:bodyPr/>
        <a:lstStyle/>
        <a:p>
          <a:endParaRPr lang="en-US"/>
        </a:p>
      </dgm:t>
    </dgm:pt>
    <dgm:pt modelId="{2F347884-5E67-40FB-A70A-BD169BE746B8}" type="sibTrans" cxnId="{FF4B39D3-B86C-4E11-8DB8-7D0FB9DFFB02}">
      <dgm:prSet/>
      <dgm:spPr/>
      <dgm:t>
        <a:bodyPr/>
        <a:lstStyle/>
        <a:p>
          <a:endParaRPr lang="en-US"/>
        </a:p>
      </dgm:t>
    </dgm:pt>
    <dgm:pt modelId="{BAECE0A7-A53B-4873-BA3E-81B18706C329}">
      <dgm:prSet/>
      <dgm:spPr/>
      <dgm:t>
        <a:bodyPr/>
        <a:lstStyle/>
        <a:p>
          <a:r>
            <a:rPr lang="en-IN" b="0" i="0"/>
            <a:t>Click Create function.</a:t>
          </a:r>
          <a:endParaRPr lang="en-US"/>
        </a:p>
      </dgm:t>
    </dgm:pt>
    <dgm:pt modelId="{27EAF5D2-7603-4E15-A7E1-76CCF7D1D79D}" type="parTrans" cxnId="{F07D6409-DC87-4389-B2E0-1C8A06E3F482}">
      <dgm:prSet/>
      <dgm:spPr/>
      <dgm:t>
        <a:bodyPr/>
        <a:lstStyle/>
        <a:p>
          <a:endParaRPr lang="en-US"/>
        </a:p>
      </dgm:t>
    </dgm:pt>
    <dgm:pt modelId="{4CA7D7E4-591A-4656-A663-075260C7CD30}" type="sibTrans" cxnId="{F07D6409-DC87-4389-B2E0-1C8A06E3F482}">
      <dgm:prSet/>
      <dgm:spPr/>
      <dgm:t>
        <a:bodyPr/>
        <a:lstStyle/>
        <a:p>
          <a:endParaRPr lang="en-US"/>
        </a:p>
      </dgm:t>
    </dgm:pt>
    <dgm:pt modelId="{C8A537E9-0657-49C6-BB16-7BC3323948FD}" type="pres">
      <dgm:prSet presAssocID="{9A4FC5B8-B059-4967-A854-C42774311E4A}" presName="Name0" presStyleCnt="0">
        <dgm:presLayoutVars>
          <dgm:dir/>
          <dgm:resizeHandles val="exact"/>
        </dgm:presLayoutVars>
      </dgm:prSet>
      <dgm:spPr/>
    </dgm:pt>
    <dgm:pt modelId="{656A065C-DF40-4825-A546-BF4AC667BD19}" type="pres">
      <dgm:prSet presAssocID="{DE98D0CD-8459-47EF-9808-150C716E1D91}" presName="node" presStyleLbl="node1" presStyleIdx="0" presStyleCnt="4">
        <dgm:presLayoutVars>
          <dgm:bulletEnabled val="1"/>
        </dgm:presLayoutVars>
      </dgm:prSet>
      <dgm:spPr/>
    </dgm:pt>
    <dgm:pt modelId="{9480BB69-4C18-4C3D-9BBA-51C7F94D232E}" type="pres">
      <dgm:prSet presAssocID="{D627E300-0D53-41D9-8D2F-3B4F3C152FB2}" presName="sibTrans" presStyleLbl="sibTrans1D1" presStyleIdx="0" presStyleCnt="3"/>
      <dgm:spPr/>
    </dgm:pt>
    <dgm:pt modelId="{D2C874EF-8C0B-4BDA-A117-780381DA18EF}" type="pres">
      <dgm:prSet presAssocID="{D627E300-0D53-41D9-8D2F-3B4F3C152FB2}" presName="connectorText" presStyleLbl="sibTrans1D1" presStyleIdx="0" presStyleCnt="3"/>
      <dgm:spPr/>
    </dgm:pt>
    <dgm:pt modelId="{4CE08ABC-96FF-4413-993C-BDA18A653892}" type="pres">
      <dgm:prSet presAssocID="{5AB0AAC4-3590-42A3-9233-9A60803644F2}" presName="node" presStyleLbl="node1" presStyleIdx="1" presStyleCnt="4">
        <dgm:presLayoutVars>
          <dgm:bulletEnabled val="1"/>
        </dgm:presLayoutVars>
      </dgm:prSet>
      <dgm:spPr/>
    </dgm:pt>
    <dgm:pt modelId="{96319A3A-DF31-4C6E-BCEE-532F785A7664}" type="pres">
      <dgm:prSet presAssocID="{00442152-523B-4346-9DA1-A7FAF0AB0FA5}" presName="sibTrans" presStyleLbl="sibTrans1D1" presStyleIdx="1" presStyleCnt="3"/>
      <dgm:spPr/>
    </dgm:pt>
    <dgm:pt modelId="{F2A5D2CE-10AB-4911-AC8B-B994F4530F4A}" type="pres">
      <dgm:prSet presAssocID="{00442152-523B-4346-9DA1-A7FAF0AB0FA5}" presName="connectorText" presStyleLbl="sibTrans1D1" presStyleIdx="1" presStyleCnt="3"/>
      <dgm:spPr/>
    </dgm:pt>
    <dgm:pt modelId="{C5845B77-17FE-4A45-AF0D-2C2C6546A285}" type="pres">
      <dgm:prSet presAssocID="{6AB9ABE9-39CA-4973-BD6D-521CC2DB7CCD}" presName="node" presStyleLbl="node1" presStyleIdx="2" presStyleCnt="4" custScaleX="108743" custScaleY="102486">
        <dgm:presLayoutVars>
          <dgm:bulletEnabled val="1"/>
        </dgm:presLayoutVars>
      </dgm:prSet>
      <dgm:spPr/>
    </dgm:pt>
    <dgm:pt modelId="{66A2C5D8-9B1F-4A7B-9187-0261984DC768}" type="pres">
      <dgm:prSet presAssocID="{2F347884-5E67-40FB-A70A-BD169BE746B8}" presName="sibTrans" presStyleLbl="sibTrans1D1" presStyleIdx="2" presStyleCnt="3"/>
      <dgm:spPr/>
    </dgm:pt>
    <dgm:pt modelId="{F33343B5-9EE9-4BE3-814B-A59965E92009}" type="pres">
      <dgm:prSet presAssocID="{2F347884-5E67-40FB-A70A-BD169BE746B8}" presName="connectorText" presStyleLbl="sibTrans1D1" presStyleIdx="2" presStyleCnt="3"/>
      <dgm:spPr/>
    </dgm:pt>
    <dgm:pt modelId="{7A5C9BED-E80C-4976-9913-8AABFCB71FC1}" type="pres">
      <dgm:prSet presAssocID="{BAECE0A7-A53B-4873-BA3E-81B18706C329}" presName="node" presStyleLbl="node1" presStyleIdx="3" presStyleCnt="4">
        <dgm:presLayoutVars>
          <dgm:bulletEnabled val="1"/>
        </dgm:presLayoutVars>
      </dgm:prSet>
      <dgm:spPr/>
    </dgm:pt>
  </dgm:ptLst>
  <dgm:cxnLst>
    <dgm:cxn modelId="{F07D6409-DC87-4389-B2E0-1C8A06E3F482}" srcId="{9A4FC5B8-B059-4967-A854-C42774311E4A}" destId="{BAECE0A7-A53B-4873-BA3E-81B18706C329}" srcOrd="3" destOrd="0" parTransId="{27EAF5D2-7603-4E15-A7E1-76CCF7D1D79D}" sibTransId="{4CA7D7E4-591A-4656-A663-075260C7CD30}"/>
    <dgm:cxn modelId="{ACB4CE29-7DA0-4141-87DC-7688E92826DD}" type="presOf" srcId="{DE98D0CD-8459-47EF-9808-150C716E1D91}" destId="{656A065C-DF40-4825-A546-BF4AC667BD19}" srcOrd="0" destOrd="0" presId="urn:microsoft.com/office/officeart/2016/7/layout/RepeatingBendingProcessNew"/>
    <dgm:cxn modelId="{9A83B533-4D48-41CF-9077-CA4014F9B701}" type="presOf" srcId="{00442152-523B-4346-9DA1-A7FAF0AB0FA5}" destId="{F2A5D2CE-10AB-4911-AC8B-B994F4530F4A}" srcOrd="1" destOrd="0" presId="urn:microsoft.com/office/officeart/2016/7/layout/RepeatingBendingProcessNew"/>
    <dgm:cxn modelId="{E873BE37-8304-40E8-A491-92ACB19D2AA1}" srcId="{9A4FC5B8-B059-4967-A854-C42774311E4A}" destId="{5AB0AAC4-3590-42A3-9233-9A60803644F2}" srcOrd="1" destOrd="0" parTransId="{F85D31E1-9566-424E-85E4-EA70D95AA51D}" sibTransId="{00442152-523B-4346-9DA1-A7FAF0AB0FA5}"/>
    <dgm:cxn modelId="{67C85D39-C82E-44BA-9C7E-3269F5517703}" srcId="{9A4FC5B8-B059-4967-A854-C42774311E4A}" destId="{DE98D0CD-8459-47EF-9808-150C716E1D91}" srcOrd="0" destOrd="0" parTransId="{4C769A2B-951E-488D-896C-13422B06EAF7}" sibTransId="{D627E300-0D53-41D9-8D2F-3B4F3C152FB2}"/>
    <dgm:cxn modelId="{3A1A7A64-456B-41DF-9112-1E5214519805}" type="presOf" srcId="{2F347884-5E67-40FB-A70A-BD169BE746B8}" destId="{F33343B5-9EE9-4BE3-814B-A59965E92009}" srcOrd="1" destOrd="0" presId="urn:microsoft.com/office/officeart/2016/7/layout/RepeatingBendingProcessNew"/>
    <dgm:cxn modelId="{C0AB0055-FEF5-47C6-BF5F-5A786E8C87B4}" type="presOf" srcId="{D627E300-0D53-41D9-8D2F-3B4F3C152FB2}" destId="{D2C874EF-8C0B-4BDA-A117-780381DA18EF}" srcOrd="1" destOrd="0" presId="urn:microsoft.com/office/officeart/2016/7/layout/RepeatingBendingProcessNew"/>
    <dgm:cxn modelId="{01574D7B-1FAC-45D9-AEE4-DF1E34745414}" type="presOf" srcId="{D627E300-0D53-41D9-8D2F-3B4F3C152FB2}" destId="{9480BB69-4C18-4C3D-9BBA-51C7F94D232E}" srcOrd="0" destOrd="0" presId="urn:microsoft.com/office/officeart/2016/7/layout/RepeatingBendingProcessNew"/>
    <dgm:cxn modelId="{2C1BB497-9157-4502-8789-AF8A64F70367}" type="presOf" srcId="{6AB9ABE9-39CA-4973-BD6D-521CC2DB7CCD}" destId="{C5845B77-17FE-4A45-AF0D-2C2C6546A285}" srcOrd="0" destOrd="0" presId="urn:microsoft.com/office/officeart/2016/7/layout/RepeatingBendingProcessNew"/>
    <dgm:cxn modelId="{5304B9A3-AA58-44DF-9583-C9B76616F850}" type="presOf" srcId="{5AB0AAC4-3590-42A3-9233-9A60803644F2}" destId="{4CE08ABC-96FF-4413-993C-BDA18A653892}" srcOrd="0" destOrd="0" presId="urn:microsoft.com/office/officeart/2016/7/layout/RepeatingBendingProcessNew"/>
    <dgm:cxn modelId="{8D16EAB0-2C63-47F0-A009-52EE14E6725B}" type="presOf" srcId="{00442152-523B-4346-9DA1-A7FAF0AB0FA5}" destId="{96319A3A-DF31-4C6E-BCEE-532F785A7664}" srcOrd="0" destOrd="0" presId="urn:microsoft.com/office/officeart/2016/7/layout/RepeatingBendingProcessNew"/>
    <dgm:cxn modelId="{82F22FB7-A1B6-487A-8CE1-1996F1E35DFE}" type="presOf" srcId="{BAECE0A7-A53B-4873-BA3E-81B18706C329}" destId="{7A5C9BED-E80C-4976-9913-8AABFCB71FC1}" srcOrd="0" destOrd="0" presId="urn:microsoft.com/office/officeart/2016/7/layout/RepeatingBendingProcessNew"/>
    <dgm:cxn modelId="{344179CB-91D8-4683-8B63-393B4995B0D9}" type="presOf" srcId="{9A4FC5B8-B059-4967-A854-C42774311E4A}" destId="{C8A537E9-0657-49C6-BB16-7BC3323948FD}" srcOrd="0" destOrd="0" presId="urn:microsoft.com/office/officeart/2016/7/layout/RepeatingBendingProcessNew"/>
    <dgm:cxn modelId="{FF4B39D3-B86C-4E11-8DB8-7D0FB9DFFB02}" srcId="{9A4FC5B8-B059-4967-A854-C42774311E4A}" destId="{6AB9ABE9-39CA-4973-BD6D-521CC2DB7CCD}" srcOrd="2" destOrd="0" parTransId="{33CF860E-B8CC-4EA1-93B1-A0B708992D33}" sibTransId="{2F347884-5E67-40FB-A70A-BD169BE746B8}"/>
    <dgm:cxn modelId="{EA1DF8EE-8B17-4243-8319-5EE030BAD143}" type="presOf" srcId="{2F347884-5E67-40FB-A70A-BD169BE746B8}" destId="{66A2C5D8-9B1F-4A7B-9187-0261984DC768}" srcOrd="0" destOrd="0" presId="urn:microsoft.com/office/officeart/2016/7/layout/RepeatingBendingProcessNew"/>
    <dgm:cxn modelId="{1C217B19-8C22-43B6-84F5-350F235BEE9E}" type="presParOf" srcId="{C8A537E9-0657-49C6-BB16-7BC3323948FD}" destId="{656A065C-DF40-4825-A546-BF4AC667BD19}" srcOrd="0" destOrd="0" presId="urn:microsoft.com/office/officeart/2016/7/layout/RepeatingBendingProcessNew"/>
    <dgm:cxn modelId="{073F225C-8E3E-43F8-B39C-97CBA0F77B51}" type="presParOf" srcId="{C8A537E9-0657-49C6-BB16-7BC3323948FD}" destId="{9480BB69-4C18-4C3D-9BBA-51C7F94D232E}" srcOrd="1" destOrd="0" presId="urn:microsoft.com/office/officeart/2016/7/layout/RepeatingBendingProcessNew"/>
    <dgm:cxn modelId="{26FC24D4-5ABB-481B-A06C-9B632607D504}" type="presParOf" srcId="{9480BB69-4C18-4C3D-9BBA-51C7F94D232E}" destId="{D2C874EF-8C0B-4BDA-A117-780381DA18EF}" srcOrd="0" destOrd="0" presId="urn:microsoft.com/office/officeart/2016/7/layout/RepeatingBendingProcessNew"/>
    <dgm:cxn modelId="{C146CB5F-18DD-485C-9005-20286BBA4AF4}" type="presParOf" srcId="{C8A537E9-0657-49C6-BB16-7BC3323948FD}" destId="{4CE08ABC-96FF-4413-993C-BDA18A653892}" srcOrd="2" destOrd="0" presId="urn:microsoft.com/office/officeart/2016/7/layout/RepeatingBendingProcessNew"/>
    <dgm:cxn modelId="{ECF73B6F-A024-45B7-AD31-48E3BC600C9A}" type="presParOf" srcId="{C8A537E9-0657-49C6-BB16-7BC3323948FD}" destId="{96319A3A-DF31-4C6E-BCEE-532F785A7664}" srcOrd="3" destOrd="0" presId="urn:microsoft.com/office/officeart/2016/7/layout/RepeatingBendingProcessNew"/>
    <dgm:cxn modelId="{CB98718B-1814-4135-8FAB-5C1D3FD56991}" type="presParOf" srcId="{96319A3A-DF31-4C6E-BCEE-532F785A7664}" destId="{F2A5D2CE-10AB-4911-AC8B-B994F4530F4A}" srcOrd="0" destOrd="0" presId="urn:microsoft.com/office/officeart/2016/7/layout/RepeatingBendingProcessNew"/>
    <dgm:cxn modelId="{505CB758-8542-446F-8961-B255A36DCDD0}" type="presParOf" srcId="{C8A537E9-0657-49C6-BB16-7BC3323948FD}" destId="{C5845B77-17FE-4A45-AF0D-2C2C6546A285}" srcOrd="4" destOrd="0" presId="urn:microsoft.com/office/officeart/2016/7/layout/RepeatingBendingProcessNew"/>
    <dgm:cxn modelId="{BCB3B8C5-D21A-4829-8156-985BC76533AD}" type="presParOf" srcId="{C8A537E9-0657-49C6-BB16-7BC3323948FD}" destId="{66A2C5D8-9B1F-4A7B-9187-0261984DC768}" srcOrd="5" destOrd="0" presId="urn:microsoft.com/office/officeart/2016/7/layout/RepeatingBendingProcessNew"/>
    <dgm:cxn modelId="{E68BC7A4-6618-4DA5-A7C2-759D0E5135EC}" type="presParOf" srcId="{66A2C5D8-9B1F-4A7B-9187-0261984DC768}" destId="{F33343B5-9EE9-4BE3-814B-A59965E92009}" srcOrd="0" destOrd="0" presId="urn:microsoft.com/office/officeart/2016/7/layout/RepeatingBendingProcessNew"/>
    <dgm:cxn modelId="{A56E051F-7B52-4309-ACB6-BB2DF76A8B1F}" type="presParOf" srcId="{C8A537E9-0657-49C6-BB16-7BC3323948FD}" destId="{7A5C9BED-E80C-4976-9913-8AABFCB71FC1}" srcOrd="6"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811A8C-43F1-4FC3-831E-AEC120FCF2AC}">
      <dsp:nvSpPr>
        <dsp:cNvPr id="0" name=""/>
        <dsp:cNvSpPr/>
      </dsp:nvSpPr>
      <dsp:spPr>
        <a:xfrm>
          <a:off x="1406" y="479064"/>
          <a:ext cx="5484606" cy="329076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Solution Creation by using Textract AWS services </a:t>
          </a:r>
        </a:p>
      </dsp:txBody>
      <dsp:txXfrm>
        <a:off x="1406" y="479064"/>
        <a:ext cx="5484606" cy="3290764"/>
      </dsp:txXfrm>
    </dsp:sp>
    <dsp:sp modelId="{F3068450-3D04-4830-B4AC-1F2C2048F4CB}">
      <dsp:nvSpPr>
        <dsp:cNvPr id="0" name=""/>
        <dsp:cNvSpPr/>
      </dsp:nvSpPr>
      <dsp:spPr>
        <a:xfrm>
          <a:off x="6034473" y="479064"/>
          <a:ext cx="5484606" cy="329076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Pre-requisites</a:t>
          </a:r>
        </a:p>
        <a:p>
          <a:pPr marL="228600" lvl="1" indent="-228600" algn="l" defTabSz="1022350">
            <a:lnSpc>
              <a:spcPct val="90000"/>
            </a:lnSpc>
            <a:spcBef>
              <a:spcPct val="0"/>
            </a:spcBef>
            <a:spcAft>
              <a:spcPct val="15000"/>
            </a:spcAft>
            <a:buChar char="•"/>
          </a:pPr>
          <a:r>
            <a:rPr lang="en-IN" sz="2300" kern="1200"/>
            <a:t>AWS account creation</a:t>
          </a:r>
          <a:endParaRPr lang="en-US" sz="2300" kern="1200"/>
        </a:p>
        <a:p>
          <a:pPr marL="228600" lvl="1" indent="-228600" algn="l" defTabSz="1022350">
            <a:lnSpc>
              <a:spcPct val="90000"/>
            </a:lnSpc>
            <a:spcBef>
              <a:spcPct val="0"/>
            </a:spcBef>
            <a:spcAft>
              <a:spcPct val="15000"/>
            </a:spcAft>
            <a:buChar char="•"/>
          </a:pPr>
          <a:r>
            <a:rPr lang="en-IN" sz="2300" kern="1200" dirty="0"/>
            <a:t>EC2 Instance- virtual machine</a:t>
          </a:r>
          <a:endParaRPr lang="en-US" sz="2300" kern="1200" dirty="0"/>
        </a:p>
        <a:p>
          <a:pPr marL="228600" lvl="1" indent="-228600" algn="l" defTabSz="1022350">
            <a:lnSpc>
              <a:spcPct val="90000"/>
            </a:lnSpc>
            <a:spcBef>
              <a:spcPct val="0"/>
            </a:spcBef>
            <a:spcAft>
              <a:spcPct val="15000"/>
            </a:spcAft>
            <a:buChar char="•"/>
          </a:pPr>
          <a:r>
            <a:rPr lang="en-IN" sz="2300" kern="1200"/>
            <a:t>Lambda-service</a:t>
          </a:r>
          <a:endParaRPr lang="en-US" sz="2300" kern="1200"/>
        </a:p>
        <a:p>
          <a:pPr marL="228600" lvl="1" indent="-228600" algn="l" defTabSz="1022350">
            <a:lnSpc>
              <a:spcPct val="90000"/>
            </a:lnSpc>
            <a:spcBef>
              <a:spcPct val="0"/>
            </a:spcBef>
            <a:spcAft>
              <a:spcPct val="15000"/>
            </a:spcAft>
            <a:buChar char="•"/>
          </a:pPr>
          <a:r>
            <a:rPr lang="en-IN" sz="2300" kern="1200"/>
            <a:t>IAM- Identity access management –service</a:t>
          </a:r>
          <a:endParaRPr lang="en-US" sz="2300" kern="1200"/>
        </a:p>
        <a:p>
          <a:pPr marL="228600" lvl="1" indent="-228600" algn="l" defTabSz="1022350">
            <a:lnSpc>
              <a:spcPct val="90000"/>
            </a:lnSpc>
            <a:spcBef>
              <a:spcPct val="0"/>
            </a:spcBef>
            <a:spcAft>
              <a:spcPct val="15000"/>
            </a:spcAft>
            <a:buChar char="•"/>
          </a:pPr>
          <a:r>
            <a:rPr lang="en-IN" sz="2300" kern="1200" dirty="0"/>
            <a:t>S3bucket-storage(drive)</a:t>
          </a:r>
          <a:br>
            <a:rPr lang="en-IN" sz="2300" kern="1200" dirty="0"/>
          </a:br>
          <a:endParaRPr lang="en-US" sz="2300" kern="1200" dirty="0"/>
        </a:p>
      </dsp:txBody>
      <dsp:txXfrm>
        <a:off x="6034473" y="479064"/>
        <a:ext cx="5484606" cy="3290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C435D-E34A-463F-8F51-3060EDA8F5CD}">
      <dsp:nvSpPr>
        <dsp:cNvPr id="0" name=""/>
        <dsp:cNvSpPr/>
      </dsp:nvSpPr>
      <dsp:spPr>
        <a:xfrm>
          <a:off x="3686555" y="208"/>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US" sz="1700" kern="1200"/>
            <a:t>Creating AWS account</a:t>
          </a:r>
          <a:br>
            <a:rPr lang="en-US" sz="1700" kern="1200"/>
          </a:br>
          <a:endParaRPr lang="en-US" sz="1700" kern="1200" dirty="0"/>
        </a:p>
      </dsp:txBody>
      <dsp:txXfrm>
        <a:off x="3717286" y="30939"/>
        <a:ext cx="4085913" cy="568069"/>
      </dsp:txXfrm>
    </dsp:sp>
    <dsp:sp modelId="{30A5FD5B-CBF2-4854-AE50-75C9AE26700B}">
      <dsp:nvSpPr>
        <dsp:cNvPr id="0" name=""/>
        <dsp:cNvSpPr/>
      </dsp:nvSpPr>
      <dsp:spPr>
        <a:xfrm>
          <a:off x="3686555" y="661216"/>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a:effectLst/>
            </a:rPr>
            <a:t>Open the Amazon Web Services home page </a:t>
          </a:r>
        </a:p>
      </dsp:txBody>
      <dsp:txXfrm>
        <a:off x="3717286" y="691947"/>
        <a:ext cx="4085913" cy="568069"/>
      </dsp:txXfrm>
    </dsp:sp>
    <dsp:sp modelId="{97931570-3424-45CB-B30A-C020C2305AB8}">
      <dsp:nvSpPr>
        <dsp:cNvPr id="0" name=""/>
        <dsp:cNvSpPr/>
      </dsp:nvSpPr>
      <dsp:spPr>
        <a:xfrm>
          <a:off x="3686555" y="1322224"/>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a:effectLst/>
            </a:rPr>
            <a:t>Choose Create an AWS account</a:t>
          </a:r>
        </a:p>
      </dsp:txBody>
      <dsp:txXfrm>
        <a:off x="3717286" y="1352955"/>
        <a:ext cx="4085913" cy="568069"/>
      </dsp:txXfrm>
    </dsp:sp>
    <dsp:sp modelId="{E3CF3D6A-8F53-4986-89DF-79708C8BD6FE}">
      <dsp:nvSpPr>
        <dsp:cNvPr id="0" name=""/>
        <dsp:cNvSpPr/>
      </dsp:nvSpPr>
      <dsp:spPr>
        <a:xfrm>
          <a:off x="3686555" y="1983233"/>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dirty="0">
              <a:effectLst/>
            </a:rPr>
            <a:t>Enter your account information, and then choose Continue</a:t>
          </a:r>
        </a:p>
      </dsp:txBody>
      <dsp:txXfrm>
        <a:off x="3717286" y="2013964"/>
        <a:ext cx="4085913" cy="568069"/>
      </dsp:txXfrm>
    </dsp:sp>
    <dsp:sp modelId="{E66511AB-B8E9-4BCE-B1FD-14CD6178B216}">
      <dsp:nvSpPr>
        <dsp:cNvPr id="0" name=""/>
        <dsp:cNvSpPr/>
      </dsp:nvSpPr>
      <dsp:spPr>
        <a:xfrm>
          <a:off x="3686555" y="2644241"/>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a:effectLst/>
            </a:rPr>
            <a:t>Choose Personal or Professional</a:t>
          </a:r>
        </a:p>
      </dsp:txBody>
      <dsp:txXfrm>
        <a:off x="3717286" y="2674972"/>
        <a:ext cx="4085913" cy="568069"/>
      </dsp:txXfrm>
    </dsp:sp>
    <dsp:sp modelId="{05F68828-DC9C-43F4-8851-6C407A193124}">
      <dsp:nvSpPr>
        <dsp:cNvPr id="0" name=""/>
        <dsp:cNvSpPr/>
      </dsp:nvSpPr>
      <dsp:spPr>
        <a:xfrm>
          <a:off x="3686555" y="3305249"/>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a:effectLst/>
            </a:rPr>
            <a:t>Enter your company or personal information</a:t>
          </a:r>
        </a:p>
      </dsp:txBody>
      <dsp:txXfrm>
        <a:off x="3717286" y="3335980"/>
        <a:ext cx="4085913" cy="568069"/>
      </dsp:txXfrm>
    </dsp:sp>
    <dsp:sp modelId="{2C177C32-09BF-426E-947F-1D6941B1F583}">
      <dsp:nvSpPr>
        <dsp:cNvPr id="0" name=""/>
        <dsp:cNvSpPr/>
      </dsp:nvSpPr>
      <dsp:spPr>
        <a:xfrm>
          <a:off x="3686555" y="3966257"/>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a:effectLst/>
            </a:rPr>
            <a:t>Read and accept the AWS Customer Agreement </a:t>
          </a:r>
        </a:p>
      </dsp:txBody>
      <dsp:txXfrm>
        <a:off x="3717286" y="3996988"/>
        <a:ext cx="4085913" cy="568069"/>
      </dsp:txXfrm>
    </dsp:sp>
    <dsp:sp modelId="{936E2534-92B4-495D-8239-94D955FE9B14}">
      <dsp:nvSpPr>
        <dsp:cNvPr id="0" name=""/>
        <dsp:cNvSpPr/>
      </dsp:nvSpPr>
      <dsp:spPr>
        <a:xfrm>
          <a:off x="3686555" y="4627265"/>
          <a:ext cx="4147375" cy="62953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IN" sz="1700" b="0" i="0" kern="1200">
              <a:effectLst/>
            </a:rPr>
            <a:t>Choose Create Account and Continue</a:t>
          </a:r>
          <a:endParaRPr lang="en-IN" sz="1700" b="0" i="0" kern="1200">
            <a:effectLst/>
            <a:latin typeface="arial" panose="020B0604020202020204" pitchFamily="34" charset="0"/>
          </a:endParaRPr>
        </a:p>
      </dsp:txBody>
      <dsp:txXfrm>
        <a:off x="3717286" y="4657996"/>
        <a:ext cx="4085913" cy="5680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9C33E4-CA64-465C-BEAA-5F72C6D0B7C8}">
      <dsp:nvSpPr>
        <dsp:cNvPr id="0" name=""/>
        <dsp:cNvSpPr/>
      </dsp:nvSpPr>
      <dsp:spPr>
        <a:xfrm>
          <a:off x="531022" y="75"/>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b="0" i="0" kern="1200">
              <a:solidFill>
                <a:schemeClr val="tx1"/>
              </a:solidFill>
              <a:effectLst/>
            </a:rPr>
            <a:t>Open the Amazon EC2 console at </a:t>
          </a:r>
          <a:r>
            <a:rPr lang="en-IN" sz="1300" b="0" i="0" kern="1200">
              <a:solidFill>
                <a:schemeClr val="tx1"/>
              </a:solidFill>
              <a:effectLst/>
              <a:hlinkClick xmlns:r="http://schemas.openxmlformats.org/officeDocument/2006/relationships" r:id="rId1">
                <a:extLst>
                  <a:ext uri="{A12FA001-AC4F-418D-AE19-62706E023703}">
                    <ahyp:hlinkClr xmlns:ahyp="http://schemas.microsoft.com/office/drawing/2018/hyperlinkcolor" val="tx"/>
                  </a:ext>
                </a:extLst>
              </a:hlinkClick>
            </a:rPr>
            <a:t>https://console.aws.amazon.com/ec2</a:t>
          </a:r>
          <a:endParaRPr lang="en-IN" sz="1300" b="0" i="0" kern="1200" dirty="0">
            <a:solidFill>
              <a:schemeClr val="tx1"/>
            </a:solidFill>
            <a:effectLst/>
          </a:endParaRPr>
        </a:p>
      </dsp:txBody>
      <dsp:txXfrm>
        <a:off x="531022" y="75"/>
        <a:ext cx="3268263" cy="1960957"/>
      </dsp:txXfrm>
    </dsp:sp>
    <dsp:sp modelId="{95735A4F-D2FB-4034-9B61-BDCDBC63C4C8}">
      <dsp:nvSpPr>
        <dsp:cNvPr id="0" name=""/>
        <dsp:cNvSpPr/>
      </dsp:nvSpPr>
      <dsp:spPr>
        <a:xfrm>
          <a:off x="4126111" y="75"/>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b="0" i="0" kern="1200">
              <a:solidFill>
                <a:schemeClr val="tx1"/>
              </a:solidFill>
              <a:effectLst/>
            </a:rPr>
            <a:t>From the EC2 console dashboard, in the Launch instance box, choose Launch instance</a:t>
          </a:r>
          <a:endParaRPr lang="en-IN" sz="1300" b="0" kern="1200" dirty="0">
            <a:solidFill>
              <a:schemeClr val="tx1"/>
            </a:solidFill>
          </a:endParaRPr>
        </a:p>
      </dsp:txBody>
      <dsp:txXfrm>
        <a:off x="4126111" y="75"/>
        <a:ext cx="3268263" cy="1960957"/>
      </dsp:txXfrm>
    </dsp:sp>
    <dsp:sp modelId="{FC797387-CBA1-4684-862F-7C7D4BF64F32}">
      <dsp:nvSpPr>
        <dsp:cNvPr id="0" name=""/>
        <dsp:cNvSpPr/>
      </dsp:nvSpPr>
      <dsp:spPr>
        <a:xfrm>
          <a:off x="7721201" y="75"/>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b="0" i="0" kern="1200">
              <a:solidFill>
                <a:schemeClr val="tx1"/>
              </a:solidFill>
              <a:effectLst/>
            </a:rPr>
            <a:t>then choose Launch instance from the options that appear</a:t>
          </a:r>
          <a:endParaRPr lang="en-IN" sz="1300" b="0" i="0" kern="1200" dirty="0">
            <a:solidFill>
              <a:schemeClr val="tx1"/>
            </a:solidFill>
            <a:effectLst/>
          </a:endParaRPr>
        </a:p>
      </dsp:txBody>
      <dsp:txXfrm>
        <a:off x="7721201" y="75"/>
        <a:ext cx="3268263" cy="1960957"/>
      </dsp:txXfrm>
    </dsp:sp>
    <dsp:sp modelId="{F991493F-8369-4882-AAB0-0281BA82664A}">
      <dsp:nvSpPr>
        <dsp:cNvPr id="0" name=""/>
        <dsp:cNvSpPr/>
      </dsp:nvSpPr>
      <dsp:spPr>
        <a:xfrm>
          <a:off x="4126111" y="2287860"/>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IN" sz="1300" b="0" i="0" kern="1200">
              <a:solidFill>
                <a:schemeClr val="tx1"/>
              </a:solidFill>
              <a:effectLst/>
            </a:rPr>
            <a:t>Under Name and tags, for Name, enter a descriptive name for your instance</a:t>
          </a:r>
          <a:endParaRPr lang="en-US" sz="1300" b="0" kern="1200" dirty="0">
            <a:solidFill>
              <a:schemeClr val="tx1"/>
            </a:solidFill>
          </a:endParaRPr>
        </a:p>
      </dsp:txBody>
      <dsp:txXfrm>
        <a:off x="4126111" y="2287860"/>
        <a:ext cx="3268263" cy="19609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0E27-F78B-4761-A668-D7403F8DCF37}">
      <dsp:nvSpPr>
        <dsp:cNvPr id="0" name=""/>
        <dsp:cNvSpPr/>
      </dsp:nvSpPr>
      <dsp:spPr>
        <a:xfrm>
          <a:off x="0" y="0"/>
          <a:ext cx="9216000" cy="95050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0" i="0" kern="1200">
              <a:effectLst/>
            </a:rPr>
            <a:t>Sign into the preview version of the AWS Management Console .</a:t>
          </a:r>
        </a:p>
      </dsp:txBody>
      <dsp:txXfrm>
        <a:off x="27839" y="27839"/>
        <a:ext cx="8110013" cy="894827"/>
      </dsp:txXfrm>
    </dsp:sp>
    <dsp:sp modelId="{A64A62E5-F5A6-4A35-ACFF-862DD0F2D33D}">
      <dsp:nvSpPr>
        <dsp:cNvPr id="0" name=""/>
        <dsp:cNvSpPr/>
      </dsp:nvSpPr>
      <dsp:spPr>
        <a:xfrm>
          <a:off x="771839" y="1123324"/>
          <a:ext cx="9216000" cy="95050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0" kern="1200"/>
            <a:t>2</a:t>
          </a:r>
          <a:r>
            <a:rPr lang="en-IN" sz="2500" b="0" i="0" kern="1200">
              <a:effectLst/>
            </a:rPr>
            <a:t>Under Storage &amp; Content Delivery, choose S3 to open the Amazon S3 console. ...</a:t>
          </a:r>
        </a:p>
      </dsp:txBody>
      <dsp:txXfrm>
        <a:off x="799678" y="1151163"/>
        <a:ext cx="7770653" cy="894827"/>
      </dsp:txXfrm>
    </dsp:sp>
    <dsp:sp modelId="{2B34BEEF-5214-4711-BA9E-AE31421F7D5C}">
      <dsp:nvSpPr>
        <dsp:cNvPr id="0" name=""/>
        <dsp:cNvSpPr/>
      </dsp:nvSpPr>
      <dsp:spPr>
        <a:xfrm>
          <a:off x="1532160" y="2246649"/>
          <a:ext cx="9216000" cy="95050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0" i="0" kern="1200">
              <a:effectLst/>
            </a:rPr>
            <a:t>3From the Amazon S3 console dashboard, choose Create Bucket.</a:t>
          </a:r>
        </a:p>
      </dsp:txBody>
      <dsp:txXfrm>
        <a:off x="1559999" y="2274488"/>
        <a:ext cx="7782173" cy="894827"/>
      </dsp:txXfrm>
    </dsp:sp>
    <dsp:sp modelId="{194D1EBC-753D-467E-93B6-86CA5547F4E8}">
      <dsp:nvSpPr>
        <dsp:cNvPr id="0" name=""/>
        <dsp:cNvSpPr/>
      </dsp:nvSpPr>
      <dsp:spPr>
        <a:xfrm>
          <a:off x="2304000" y="3369974"/>
          <a:ext cx="9216000" cy="95050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0" i="0" kern="1200">
              <a:effectLst/>
            </a:rPr>
            <a:t>In Create a Bucket, type a bucket name in Bucket Name. ...</a:t>
          </a:r>
        </a:p>
      </dsp:txBody>
      <dsp:txXfrm>
        <a:off x="2331839" y="3397813"/>
        <a:ext cx="7770653" cy="894827"/>
      </dsp:txXfrm>
    </dsp:sp>
    <dsp:sp modelId="{A7879D2D-969A-4087-9ED6-2EF66683C044}">
      <dsp:nvSpPr>
        <dsp:cNvPr id="0" name=""/>
        <dsp:cNvSpPr/>
      </dsp:nvSpPr>
      <dsp:spPr>
        <a:xfrm>
          <a:off x="8598171" y="728000"/>
          <a:ext cx="617828" cy="617828"/>
        </a:xfrm>
        <a:prstGeom prst="downArrow">
          <a:avLst>
            <a:gd name="adj1" fmla="val 55000"/>
            <a:gd name="adj2" fmla="val 45000"/>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IN" sz="2800" kern="1200"/>
        </a:p>
      </dsp:txBody>
      <dsp:txXfrm>
        <a:off x="8737182" y="728000"/>
        <a:ext cx="339806" cy="464916"/>
      </dsp:txXfrm>
    </dsp:sp>
    <dsp:sp modelId="{9CA56FD7-3E00-49FB-9D4B-42A5BE289E54}">
      <dsp:nvSpPr>
        <dsp:cNvPr id="0" name=""/>
        <dsp:cNvSpPr/>
      </dsp:nvSpPr>
      <dsp:spPr>
        <a:xfrm>
          <a:off x="9370011" y="1851325"/>
          <a:ext cx="617828" cy="617828"/>
        </a:xfrm>
        <a:prstGeom prst="downArrow">
          <a:avLst>
            <a:gd name="adj1" fmla="val 55000"/>
            <a:gd name="adj2" fmla="val 45000"/>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IN" sz="2800" kern="1200"/>
        </a:p>
      </dsp:txBody>
      <dsp:txXfrm>
        <a:off x="9509022" y="1851325"/>
        <a:ext cx="339806" cy="464916"/>
      </dsp:txXfrm>
    </dsp:sp>
    <dsp:sp modelId="{1EE972BE-A48A-4736-AE33-BD7D196FE63E}">
      <dsp:nvSpPr>
        <dsp:cNvPr id="0" name=""/>
        <dsp:cNvSpPr/>
      </dsp:nvSpPr>
      <dsp:spPr>
        <a:xfrm>
          <a:off x="10130331" y="2974650"/>
          <a:ext cx="617828" cy="617828"/>
        </a:xfrm>
        <a:prstGeom prst="downArrow">
          <a:avLst>
            <a:gd name="adj1" fmla="val 55000"/>
            <a:gd name="adj2" fmla="val 45000"/>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IN" sz="2800" kern="1200"/>
        </a:p>
      </dsp:txBody>
      <dsp:txXfrm>
        <a:off x="10269342" y="2974650"/>
        <a:ext cx="339806" cy="4649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E364FA-351F-4BEF-A35F-D6665C9B0BC1}">
      <dsp:nvSpPr>
        <dsp:cNvPr id="0" name=""/>
        <dsp:cNvSpPr/>
      </dsp:nvSpPr>
      <dsp:spPr>
        <a:xfrm>
          <a:off x="531022" y="75"/>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b="0" i="0" kern="1200">
              <a:solidFill>
                <a:srgbClr val="16191F"/>
              </a:solidFill>
              <a:effectLst/>
            </a:rPr>
            <a:t>Sign into the </a:t>
          </a:r>
          <a:r>
            <a:rPr lang="en-IN" sz="1800" b="0" i="0" strike="noStrike" kern="1200">
              <a:solidFill>
                <a:schemeClr val="tx1"/>
              </a:solidFill>
              <a:effectLst/>
              <a:hlinkClick xmlns:r="http://schemas.openxmlformats.org/officeDocument/2006/relationships" r:id="rId1">
                <a:extLst>
                  <a:ext uri="{A12FA001-AC4F-418D-AE19-62706E023703}">
                    <ahyp:hlinkClr xmlns:ahyp="http://schemas.microsoft.com/office/drawing/2018/hyperlinkcolor" val="tx"/>
                  </a:ext>
                </a:extLst>
              </a:hlinkClick>
            </a:rPr>
            <a:t>AWS Management Console</a:t>
          </a:r>
          <a:endParaRPr lang="en-IN" sz="1800" b="0" i="0" strike="noStrike" kern="1200" dirty="0">
            <a:solidFill>
              <a:schemeClr val="tx1"/>
            </a:solidFill>
            <a:effectLst/>
          </a:endParaRPr>
        </a:p>
      </dsp:txBody>
      <dsp:txXfrm>
        <a:off x="531022" y="75"/>
        <a:ext cx="3268263" cy="1960957"/>
      </dsp:txXfrm>
    </dsp:sp>
    <dsp:sp modelId="{42358244-B7ED-4EAA-8B2D-D4DC2AE6AB9C}">
      <dsp:nvSpPr>
        <dsp:cNvPr id="0" name=""/>
        <dsp:cNvSpPr/>
      </dsp:nvSpPr>
      <dsp:spPr>
        <a:xfrm>
          <a:off x="4126111" y="75"/>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b="0" i="0" kern="1200" dirty="0">
              <a:solidFill>
                <a:schemeClr val="tx1"/>
              </a:solidFill>
              <a:effectLst/>
            </a:rPr>
            <a:t>From the Services menu, open the </a:t>
          </a:r>
          <a:r>
            <a:rPr lang="en-IN" sz="1800" b="0" i="0" strike="noStrike" kern="1200" dirty="0">
              <a:solidFill>
                <a:schemeClr val="tx1"/>
              </a:solidFill>
              <a:effectLst/>
              <a:hlinkClick xmlns:r="http://schemas.openxmlformats.org/officeDocument/2006/relationships" r:id="rId2">
                <a:extLst>
                  <a:ext uri="{A12FA001-AC4F-418D-AE19-62706E023703}">
                    <ahyp:hlinkClr xmlns:ahyp="http://schemas.microsoft.com/office/drawing/2018/hyperlinkcolor" val="tx"/>
                  </a:ext>
                </a:extLst>
              </a:hlinkClick>
            </a:rPr>
            <a:t>IAM console</a:t>
          </a:r>
          <a:endParaRPr lang="en-IN" sz="1800" b="0" kern="1200" dirty="0">
            <a:solidFill>
              <a:schemeClr val="tx1"/>
            </a:solidFill>
          </a:endParaRPr>
        </a:p>
      </dsp:txBody>
      <dsp:txXfrm>
        <a:off x="4126111" y="75"/>
        <a:ext cx="3268263" cy="1960957"/>
      </dsp:txXfrm>
    </dsp:sp>
    <dsp:sp modelId="{A07A7D53-B46F-4C70-AEBA-FC23BDF74BCD}">
      <dsp:nvSpPr>
        <dsp:cNvPr id="0" name=""/>
        <dsp:cNvSpPr/>
      </dsp:nvSpPr>
      <dsp:spPr>
        <a:xfrm>
          <a:off x="7721201" y="75"/>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b="0" i="0" kern="1200" dirty="0">
              <a:solidFill>
                <a:srgbClr val="00B0F0"/>
              </a:solidFill>
              <a:effectLst/>
            </a:rPr>
            <a:t>3</a:t>
          </a:r>
          <a:r>
            <a:rPr lang="en-IN" sz="1800" b="0" i="0" kern="1200" dirty="0">
              <a:solidFill>
                <a:srgbClr val="16191F"/>
              </a:solidFill>
              <a:effectLst/>
            </a:rPr>
            <a:t>In the Navigation pane, choose Roles, and then choose Create role</a:t>
          </a:r>
          <a:r>
            <a:rPr lang="en-IN" sz="1800" b="0" kern="1200" dirty="0">
              <a:solidFill>
                <a:srgbClr val="16191F"/>
              </a:solidFill>
            </a:rPr>
            <a:t> </a:t>
          </a:r>
        </a:p>
      </dsp:txBody>
      <dsp:txXfrm>
        <a:off x="7721201" y="75"/>
        <a:ext cx="3268263" cy="1960957"/>
      </dsp:txXfrm>
    </dsp:sp>
    <dsp:sp modelId="{13AF6764-C950-4FAA-80AA-83BA08C19FD9}">
      <dsp:nvSpPr>
        <dsp:cNvPr id="0" name=""/>
        <dsp:cNvSpPr/>
      </dsp:nvSpPr>
      <dsp:spPr>
        <a:xfrm>
          <a:off x="2328567" y="2287860"/>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b="0" i="0" kern="1200">
              <a:solidFill>
                <a:srgbClr val="00B0F0"/>
              </a:solidFill>
              <a:effectLst/>
            </a:rPr>
            <a:t>4.</a:t>
          </a:r>
          <a:r>
            <a:rPr lang="en-IN" sz="1800" b="0" i="0" kern="1200">
              <a:solidFill>
                <a:srgbClr val="16191F"/>
              </a:solidFill>
              <a:effectLst/>
            </a:rPr>
            <a:t>For Select type of trusted entity, choose AWS service, and then choose Lambda for the service that will use this role. Then choose Next: Permissions</a:t>
          </a:r>
          <a:endParaRPr lang="en-IN" sz="1800" b="0" kern="1200" dirty="0">
            <a:solidFill>
              <a:srgbClr val="16191F"/>
            </a:solidFill>
          </a:endParaRPr>
        </a:p>
      </dsp:txBody>
      <dsp:txXfrm>
        <a:off x="2328567" y="2287860"/>
        <a:ext cx="3268263" cy="1960957"/>
      </dsp:txXfrm>
    </dsp:sp>
    <dsp:sp modelId="{27C7B4F9-DD03-444F-AAFB-AAF29E8C84EF}">
      <dsp:nvSpPr>
        <dsp:cNvPr id="0" name=""/>
        <dsp:cNvSpPr/>
      </dsp:nvSpPr>
      <dsp:spPr>
        <a:xfrm>
          <a:off x="5923656" y="2287860"/>
          <a:ext cx="3268263" cy="1960957"/>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solidFill>
                <a:srgbClr val="00B0F0"/>
              </a:solidFill>
              <a:effectLst/>
            </a:rPr>
            <a:t>6.</a:t>
          </a:r>
          <a:r>
            <a:rPr kumimoji="0" lang="en-US" altLang="en-US" sz="1800" b="0" i="0" u="none" strike="noStrike" kern="1200" cap="none" normalizeH="0" baseline="0">
              <a:ln>
                <a:noFill/>
              </a:ln>
              <a:solidFill>
                <a:srgbClr val="00B0F0"/>
              </a:solidFill>
              <a:effectLst/>
            </a:rPr>
            <a:t> </a:t>
          </a:r>
          <a:r>
            <a:rPr kumimoji="0" lang="en-US" altLang="en-US" sz="1800" b="0" i="0" u="none" strike="noStrike" kern="1200" cap="none" normalizeH="0" baseline="0">
              <a:ln>
                <a:noFill/>
              </a:ln>
              <a:solidFill>
                <a:srgbClr val="16191F"/>
              </a:solidFill>
              <a:effectLst/>
            </a:rPr>
            <a:t>Add a name for your role, such as hello-lambda-role, and a description for the role. Then choose Create role to finish creating the IAM role</a:t>
          </a:r>
          <a:r>
            <a:rPr kumimoji="0" lang="en-US" altLang="en-US" sz="1800" b="0" i="0" u="none" strike="noStrike" kern="1200" cap="none" normalizeH="0" baseline="0">
              <a:ln>
                <a:noFill/>
              </a:ln>
              <a:solidFill>
                <a:schemeClr val="tx1"/>
              </a:solidFill>
              <a:effectLst/>
            </a:rPr>
            <a:t> </a:t>
          </a:r>
          <a:endParaRPr kumimoji="0" lang="en-US" altLang="en-US" sz="1800" b="0" i="0" u="none" strike="noStrike" kern="1200" cap="none" normalizeH="0" baseline="0" dirty="0">
            <a:ln>
              <a:noFill/>
            </a:ln>
            <a:solidFill>
              <a:schemeClr val="tx1"/>
            </a:solidFill>
            <a:effectLst/>
          </a:endParaRPr>
        </a:p>
      </dsp:txBody>
      <dsp:txXfrm>
        <a:off x="5923656" y="2287860"/>
        <a:ext cx="3268263" cy="19609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0BB69-4C18-4C3D-9BBA-51C7F94D232E}">
      <dsp:nvSpPr>
        <dsp:cNvPr id="0" name=""/>
        <dsp:cNvSpPr/>
      </dsp:nvSpPr>
      <dsp:spPr>
        <a:xfrm>
          <a:off x="5195753" y="1018069"/>
          <a:ext cx="784462" cy="91440"/>
        </a:xfrm>
        <a:custGeom>
          <a:avLst/>
          <a:gdLst/>
          <a:ahLst/>
          <a:cxnLst/>
          <a:rect l="0" t="0" r="0" b="0"/>
          <a:pathLst>
            <a:path>
              <a:moveTo>
                <a:pt x="0" y="45720"/>
              </a:moveTo>
              <a:lnTo>
                <a:pt x="784462"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567608" y="1059714"/>
        <a:ext cx="40753" cy="8150"/>
      </dsp:txXfrm>
    </dsp:sp>
    <dsp:sp modelId="{656A065C-DF40-4825-A546-BF4AC667BD19}">
      <dsp:nvSpPr>
        <dsp:cNvPr id="0" name=""/>
        <dsp:cNvSpPr/>
      </dsp:nvSpPr>
      <dsp:spPr>
        <a:xfrm>
          <a:off x="1653803" y="664"/>
          <a:ext cx="3543750" cy="21262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3647" tIns="182273" rIns="173647" bIns="182273" numCol="1" spcCol="1270" anchor="ctr" anchorCtr="0">
          <a:noAutofit/>
        </a:bodyPr>
        <a:lstStyle/>
        <a:p>
          <a:pPr marL="0" lvl="0" indent="0" algn="ctr" defTabSz="1866900">
            <a:lnSpc>
              <a:spcPct val="90000"/>
            </a:lnSpc>
            <a:spcBef>
              <a:spcPct val="0"/>
            </a:spcBef>
            <a:spcAft>
              <a:spcPct val="35000"/>
            </a:spcAft>
            <a:buNone/>
          </a:pPr>
          <a:r>
            <a:rPr lang="en-IN" sz="4200" b="0" i="0" kern="1200"/>
            <a:t>Navigate to Lambda.</a:t>
          </a:r>
          <a:endParaRPr lang="en-US" sz="4200" kern="1200"/>
        </a:p>
      </dsp:txBody>
      <dsp:txXfrm>
        <a:off x="1653803" y="664"/>
        <a:ext cx="3543750" cy="2126250"/>
      </dsp:txXfrm>
    </dsp:sp>
    <dsp:sp modelId="{96319A3A-DF31-4C6E-BCEE-532F785A7664}">
      <dsp:nvSpPr>
        <dsp:cNvPr id="0" name=""/>
        <dsp:cNvSpPr/>
      </dsp:nvSpPr>
      <dsp:spPr>
        <a:xfrm>
          <a:off x="3580593" y="2125114"/>
          <a:ext cx="4203897" cy="784462"/>
        </a:xfrm>
        <a:custGeom>
          <a:avLst/>
          <a:gdLst/>
          <a:ahLst/>
          <a:cxnLst/>
          <a:rect l="0" t="0" r="0" b="0"/>
          <a:pathLst>
            <a:path>
              <a:moveTo>
                <a:pt x="4203897" y="0"/>
              </a:moveTo>
              <a:lnTo>
                <a:pt x="4203897" y="409331"/>
              </a:lnTo>
              <a:lnTo>
                <a:pt x="0" y="409331"/>
              </a:lnTo>
              <a:lnTo>
                <a:pt x="0" y="784462"/>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575487" y="2513270"/>
        <a:ext cx="214109" cy="8150"/>
      </dsp:txXfrm>
    </dsp:sp>
    <dsp:sp modelId="{4CE08ABC-96FF-4413-993C-BDA18A653892}">
      <dsp:nvSpPr>
        <dsp:cNvPr id="0" name=""/>
        <dsp:cNvSpPr/>
      </dsp:nvSpPr>
      <dsp:spPr>
        <a:xfrm>
          <a:off x="6012616" y="664"/>
          <a:ext cx="3543750" cy="21262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3647" tIns="182273" rIns="173647" bIns="182273" numCol="1" spcCol="1270" anchor="ctr" anchorCtr="0">
          <a:noAutofit/>
        </a:bodyPr>
        <a:lstStyle/>
        <a:p>
          <a:pPr marL="0" lvl="0" indent="0" algn="ctr" defTabSz="1866900">
            <a:lnSpc>
              <a:spcPct val="90000"/>
            </a:lnSpc>
            <a:spcBef>
              <a:spcPct val="0"/>
            </a:spcBef>
            <a:spcAft>
              <a:spcPct val="35000"/>
            </a:spcAft>
            <a:buNone/>
          </a:pPr>
          <a:r>
            <a:rPr lang="en-IN" sz="4200" b="0" i="0" kern="1200" dirty="0"/>
            <a:t>Provide a function name</a:t>
          </a:r>
          <a:endParaRPr lang="en-US" sz="4200" kern="1200" dirty="0"/>
        </a:p>
      </dsp:txBody>
      <dsp:txXfrm>
        <a:off x="6012616" y="664"/>
        <a:ext cx="3543750" cy="2126250"/>
      </dsp:txXfrm>
    </dsp:sp>
    <dsp:sp modelId="{66A2C5D8-9B1F-4A7B-9187-0261984DC768}">
      <dsp:nvSpPr>
        <dsp:cNvPr id="0" name=""/>
        <dsp:cNvSpPr/>
      </dsp:nvSpPr>
      <dsp:spPr>
        <a:xfrm>
          <a:off x="5505583" y="3985811"/>
          <a:ext cx="784462" cy="91440"/>
        </a:xfrm>
        <a:custGeom>
          <a:avLst/>
          <a:gdLst/>
          <a:ahLst/>
          <a:cxnLst/>
          <a:rect l="0" t="0" r="0" b="0"/>
          <a:pathLst>
            <a:path>
              <a:moveTo>
                <a:pt x="0" y="45720"/>
              </a:moveTo>
              <a:lnTo>
                <a:pt x="784462"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77438" y="4027455"/>
        <a:ext cx="40753" cy="8150"/>
      </dsp:txXfrm>
    </dsp:sp>
    <dsp:sp modelId="{C5845B77-17FE-4A45-AF0D-2C2C6546A285}">
      <dsp:nvSpPr>
        <dsp:cNvPr id="0" name=""/>
        <dsp:cNvSpPr/>
      </dsp:nvSpPr>
      <dsp:spPr>
        <a:xfrm>
          <a:off x="1653803" y="2941976"/>
          <a:ext cx="3853580" cy="217910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3647" tIns="182273" rIns="173647" bIns="182273" numCol="1" spcCol="1270" anchor="ctr" anchorCtr="0">
          <a:noAutofit/>
        </a:bodyPr>
        <a:lstStyle/>
        <a:p>
          <a:pPr marL="0" lvl="0" indent="0" algn="ctr" defTabSz="1866900">
            <a:lnSpc>
              <a:spcPct val="90000"/>
            </a:lnSpc>
            <a:spcBef>
              <a:spcPct val="0"/>
            </a:spcBef>
            <a:spcAft>
              <a:spcPct val="35000"/>
            </a:spcAft>
            <a:buNone/>
          </a:pPr>
          <a:r>
            <a:rPr lang="en-IN" sz="4200" b="0" i="0" kern="1200" dirty="0"/>
            <a:t>Select Program Language.</a:t>
          </a:r>
          <a:endParaRPr lang="en-US" sz="4200" kern="1200" dirty="0"/>
        </a:p>
      </dsp:txBody>
      <dsp:txXfrm>
        <a:off x="1653803" y="2941976"/>
        <a:ext cx="3853580" cy="2179108"/>
      </dsp:txXfrm>
    </dsp:sp>
    <dsp:sp modelId="{7A5C9BED-E80C-4976-9913-8AABFCB71FC1}">
      <dsp:nvSpPr>
        <dsp:cNvPr id="0" name=""/>
        <dsp:cNvSpPr/>
      </dsp:nvSpPr>
      <dsp:spPr>
        <a:xfrm>
          <a:off x="6322446" y="2968406"/>
          <a:ext cx="3543750" cy="21262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3647" tIns="182273" rIns="173647" bIns="182273" numCol="1" spcCol="1270" anchor="ctr" anchorCtr="0">
          <a:noAutofit/>
        </a:bodyPr>
        <a:lstStyle/>
        <a:p>
          <a:pPr marL="0" lvl="0" indent="0" algn="ctr" defTabSz="1866900">
            <a:lnSpc>
              <a:spcPct val="90000"/>
            </a:lnSpc>
            <a:spcBef>
              <a:spcPct val="0"/>
            </a:spcBef>
            <a:spcAft>
              <a:spcPct val="35000"/>
            </a:spcAft>
            <a:buNone/>
          </a:pPr>
          <a:r>
            <a:rPr lang="en-IN" sz="4200" b="0" i="0" kern="1200"/>
            <a:t>Click Create function.</a:t>
          </a:r>
          <a:endParaRPr lang="en-US" sz="4200" kern="1200"/>
        </a:p>
      </dsp:txBody>
      <dsp:txXfrm>
        <a:off x="6322446" y="2968406"/>
        <a:ext cx="3543750" cy="212625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4D85B26-453F-48C1-B603-F869670B0E6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8/26/2024</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a:t>
            </a:fld>
            <a:endParaRPr lang="en-US" sz="8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8/26/2024</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en-US"/>
              <a:t>Click icon to add pictur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en-US"/>
              <a:t>Click icon to add chart</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en-US"/>
              <a:t>Click icon to add pictur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en-US"/>
              <a:t>Click icon to add pictur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en-US"/>
              <a:t>Click icon to add pictur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en-US"/>
              <a:t>Click icon to add table</a:t>
            </a:r>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en-US" noProof="0"/>
              <a:t>Click icon to add chart</a:t>
            </a:r>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9322261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1"/>
                </a:solidFill>
                <a:effectLst/>
                <a:latin typeface="+mj-lt"/>
                <a:ea typeface="+mn-ea"/>
                <a:cs typeface="+mn-cs"/>
              </a:rPr>
              <a:t> </a:t>
            </a:r>
          </a:p>
          <a:p>
            <a:pPr algn="l"/>
            <a:r>
              <a:rPr lang="en-GB" sz="900" kern="1200" dirty="0">
                <a:solidFill>
                  <a:schemeClr val="bg1"/>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a:t>
            </a:r>
            <a:br>
              <a:rPr lang="en-US" sz="900" dirty="0">
                <a:solidFill>
                  <a:schemeClr val="bg1"/>
                </a:solidFill>
                <a:latin typeface="+mj-lt"/>
              </a:rPr>
            </a:br>
            <a:r>
              <a:rPr lang="en-US" sz="1050" dirty="0">
                <a:solidFill>
                  <a:schemeClr val="bg1"/>
                </a:solidFill>
                <a:latin typeface="+mj-lt"/>
              </a:rPr>
              <a:t>www.sogeti.com</a:t>
            </a:r>
          </a:p>
          <a:p>
            <a:pPr algn="l">
              <a:lnSpc>
                <a:spcPts val="2000"/>
              </a:lnSpc>
            </a:pPr>
            <a:endParaRPr lang="en-US" sz="90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3917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2">
                    <a:lumMod val="25000"/>
                  </a:schemeClr>
                </a:solidFill>
                <a:effectLst/>
                <a:latin typeface="+mj-lt"/>
                <a:ea typeface="+mn-ea"/>
                <a:cs typeface="+mn-cs"/>
              </a:rPr>
              <a:t> </a:t>
            </a:r>
          </a:p>
          <a:p>
            <a:pPr algn="l"/>
            <a:r>
              <a:rPr lang="en-GB" sz="900" kern="1200" dirty="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rPr>
              <a:t>www.sogeti.com</a:t>
            </a: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dirty="0">
                <a:solidFill>
                  <a:schemeClr val="bg2">
                    <a:lumMod val="25000"/>
                  </a:schemeClr>
                </a:solidFill>
                <a:effectLst/>
                <a:latin typeface="+mj-lt"/>
                <a:ea typeface="+mn-ea"/>
                <a:cs typeface="+mn-cs"/>
              </a:rPr>
              <a:t> </a:t>
            </a:r>
          </a:p>
          <a:p>
            <a:pPr algn="l"/>
            <a:r>
              <a:rPr lang="en-GB" sz="900" kern="1200" dirty="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rPr>
              <a:t>www.sogeti.com</a:t>
            </a: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en-US"/>
              <a:t>Click icon to add pictur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3.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a:t>Click to edit Master title styl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userDrawn="1"/>
        </p:nvSpPr>
        <p:spPr>
          <a:xfrm>
            <a:off x="8918695" y="6578798"/>
            <a:ext cx="3063907"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Security Classification © 2020 Sogeti. All rights reserved.</a:t>
            </a:r>
            <a:endParaRPr lang="en-US" sz="800" dirty="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Presentation title | Date</a:t>
            </a:r>
          </a:p>
        </p:txBody>
      </p:sp>
      <p:sp>
        <p:nvSpPr>
          <p:cNvPr id="36" name="Retângulo 43">
            <a:extLst>
              <a:ext uri="{FF2B5EF4-FFF2-40B4-BE49-F238E27FC236}">
                <a16:creationId xmlns:a16="http://schemas.microsoft.com/office/drawing/2014/main" id="{E9A350EE-F1BD-4DE5-9675-59C08C4084C6}"/>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 id="2147483811" r:id="rId21"/>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7692A0-4BAB-471C-89D5-57C9ED0D5AC3}"/>
              </a:ext>
            </a:extLst>
          </p:cNvPr>
          <p:cNvSpPr>
            <a:spLocks noGrp="1"/>
          </p:cNvSpPr>
          <p:nvPr>
            <p:ph type="ctrTitle"/>
          </p:nvPr>
        </p:nvSpPr>
        <p:spPr/>
        <p:txBody>
          <a:bodyPr/>
          <a:lstStyle/>
          <a:p>
            <a:r>
              <a:rPr lang="en-US" dirty="0"/>
              <a:t>Hackathon Solution Creation</a:t>
            </a:r>
          </a:p>
        </p:txBody>
      </p:sp>
      <p:sp>
        <p:nvSpPr>
          <p:cNvPr id="3" name="Sous-titre 2">
            <a:extLst>
              <a:ext uri="{FF2B5EF4-FFF2-40B4-BE49-F238E27FC236}">
                <a16:creationId xmlns:a16="http://schemas.microsoft.com/office/drawing/2014/main" id="{1FCCB941-9A55-4FD8-A71B-74F653F5E2DF}"/>
              </a:ext>
            </a:extLst>
          </p:cNvPr>
          <p:cNvSpPr>
            <a:spLocks noGrp="1"/>
          </p:cNvSpPr>
          <p:nvPr>
            <p:ph type="subTitle" idx="1"/>
          </p:nvPr>
        </p:nvSpPr>
        <p:spPr>
          <a:xfrm>
            <a:off x="407988" y="3322959"/>
            <a:ext cx="4967932" cy="1546201"/>
          </a:xfrm>
        </p:spPr>
        <p:txBody>
          <a:bodyPr/>
          <a:lstStyle/>
          <a:p>
            <a:r>
              <a:rPr lang="en-US" dirty="0"/>
              <a:t>Presented by- </a:t>
            </a:r>
            <a:r>
              <a:rPr lang="en-US" dirty="0" err="1"/>
              <a:t>Techi</a:t>
            </a:r>
            <a:r>
              <a:rPr lang="en-US" dirty="0"/>
              <a:t>-Intelligence</a:t>
            </a:r>
          </a:p>
          <a:p>
            <a:endParaRPr lang="en-US" dirty="0"/>
          </a:p>
          <a:p>
            <a:r>
              <a:rPr lang="en-US" dirty="0"/>
              <a:t>Shasi Kiranmai Bethineedi</a:t>
            </a:r>
          </a:p>
          <a:p>
            <a:r>
              <a:rPr lang="en-US" dirty="0"/>
              <a:t>Vepati </a:t>
            </a:r>
            <a:r>
              <a:rPr lang="en-US"/>
              <a:t>Naga Bhavana</a:t>
            </a:r>
            <a:endParaRPr lang="en-US" dirty="0"/>
          </a:p>
          <a:p>
            <a:r>
              <a:rPr lang="en-US" dirty="0"/>
              <a:t>Yamini </a:t>
            </a:r>
            <a:r>
              <a:rPr lang="en-US" dirty="0" err="1"/>
              <a:t>Yelleti</a:t>
            </a:r>
            <a:endParaRPr lang="en-US" dirty="0"/>
          </a:p>
          <a:p>
            <a:r>
              <a:rPr lang="en-US" dirty="0" err="1"/>
              <a:t>Bestha</a:t>
            </a:r>
            <a:r>
              <a:rPr lang="en-US" dirty="0"/>
              <a:t> Srihari</a:t>
            </a:r>
          </a:p>
        </p:txBody>
      </p:sp>
    </p:spTree>
    <p:extLst>
      <p:ext uri="{BB962C8B-B14F-4D97-AF65-F5344CB8AC3E}">
        <p14:creationId xmlns:p14="http://schemas.microsoft.com/office/powerpoint/2010/main" val="8344194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Integrating with MongoDB</a:t>
            </a:r>
          </a:p>
        </p:txBody>
      </p:sp>
      <p:sp>
        <p:nvSpPr>
          <p:cNvPr id="16" name="Text Placeholder 15">
            <a:extLst>
              <a:ext uri="{FF2B5EF4-FFF2-40B4-BE49-F238E27FC236}">
                <a16:creationId xmlns:a16="http://schemas.microsoft.com/office/drawing/2014/main" id="{DDA30558-DE1F-690A-7477-AA60362E128C}"/>
              </a:ext>
            </a:extLst>
          </p:cNvPr>
          <p:cNvSpPr>
            <a:spLocks noGrp="1"/>
          </p:cNvSpPr>
          <p:nvPr>
            <p:ph type="body" sz="quarter" idx="16"/>
          </p:nvPr>
        </p:nvSpPr>
        <p:spPr/>
        <p:txBody>
          <a:bodyPr/>
          <a:lstStyle/>
          <a:p>
            <a:endParaRPr lang="en-IN"/>
          </a:p>
        </p:txBody>
      </p:sp>
    </p:spTree>
    <p:extLst>
      <p:ext uri="{BB962C8B-B14F-4D97-AF65-F5344CB8AC3E}">
        <p14:creationId xmlns:p14="http://schemas.microsoft.com/office/powerpoint/2010/main" val="795296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a:xfrm>
            <a:off x="395999" y="396000"/>
            <a:ext cx="11520000" cy="864000"/>
          </a:xfrm>
        </p:spPr>
        <p:txBody>
          <a:bodyPr anchor="t">
            <a:normAutofit/>
          </a:bodyPr>
          <a:lstStyle/>
          <a:p>
            <a:r>
              <a:rPr lang="en-US" dirty="0"/>
              <a:t>Problem: </a:t>
            </a:r>
            <a:r>
              <a:rPr lang="en-IN" b="0" i="0" dirty="0"/>
              <a:t>Extraction of text from PDF</a:t>
            </a:r>
            <a:br>
              <a:rPr lang="en-US" dirty="0"/>
            </a:br>
            <a:endParaRPr lang="en-US" dirty="0"/>
          </a:p>
        </p:txBody>
      </p:sp>
      <p:graphicFrame>
        <p:nvGraphicFramePr>
          <p:cNvPr id="5" name="Espace réservé du texte 2">
            <a:extLst>
              <a:ext uri="{FF2B5EF4-FFF2-40B4-BE49-F238E27FC236}">
                <a16:creationId xmlns:a16="http://schemas.microsoft.com/office/drawing/2014/main" id="{574884A8-5322-099E-29C5-196D20A86E90}"/>
              </a:ext>
            </a:extLst>
          </p:cNvPr>
          <p:cNvGraphicFramePr/>
          <p:nvPr>
            <p:extLst>
              <p:ext uri="{D42A27DB-BD31-4B8C-83A1-F6EECF244321}">
                <p14:modId xmlns:p14="http://schemas.microsoft.com/office/powerpoint/2010/main" val="3230821060"/>
              </p:ext>
            </p:extLst>
          </p:nvPr>
        </p:nvGraphicFramePr>
        <p:xfrm>
          <a:off x="278846" y="1227172"/>
          <a:ext cx="11520487" cy="42488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53149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a:t>Agenda</a:t>
            </a:r>
            <a:endParaRPr lang="en-US" dirty="0"/>
          </a:p>
        </p:txBody>
      </p:sp>
      <p:sp>
        <p:nvSpPr>
          <p:cNvPr id="3" name="Espace réservé du texte 2">
            <a:extLst>
              <a:ext uri="{FF2B5EF4-FFF2-40B4-BE49-F238E27FC236}">
                <a16:creationId xmlns:a16="http://schemas.microsoft.com/office/drawing/2014/main" id="{2415052C-B773-46E8-A935-E7FEE5E1107B}"/>
              </a:ext>
            </a:extLst>
          </p:cNvPr>
          <p:cNvSpPr>
            <a:spLocks noGrp="1"/>
          </p:cNvSpPr>
          <p:nvPr>
            <p:ph type="body" sz="quarter" idx="16"/>
          </p:nvPr>
        </p:nvSpPr>
        <p:spPr>
          <a:xfrm>
            <a:off x="1176142" y="1712733"/>
            <a:ext cx="3874714" cy="569979"/>
          </a:xfrm>
        </p:spPr>
        <p:txBody>
          <a:bodyPr/>
          <a:lstStyle/>
          <a:p>
            <a:r>
              <a:rPr lang="en-US" dirty="0"/>
              <a:t>1. Creating AWS account</a:t>
            </a:r>
          </a:p>
        </p:txBody>
      </p:sp>
      <p:sp>
        <p:nvSpPr>
          <p:cNvPr id="4" name="Espace réservé du texte 3">
            <a:extLst>
              <a:ext uri="{FF2B5EF4-FFF2-40B4-BE49-F238E27FC236}">
                <a16:creationId xmlns:a16="http://schemas.microsoft.com/office/drawing/2014/main" id="{F53601D5-D53B-4235-8A0F-16524F73D43C}"/>
              </a:ext>
            </a:extLst>
          </p:cNvPr>
          <p:cNvSpPr>
            <a:spLocks noGrp="1"/>
          </p:cNvSpPr>
          <p:nvPr>
            <p:ph type="body" sz="quarter" idx="17"/>
          </p:nvPr>
        </p:nvSpPr>
        <p:spPr>
          <a:xfrm>
            <a:off x="1199456" y="4901230"/>
            <a:ext cx="3635374" cy="488073"/>
          </a:xfrm>
        </p:spPr>
        <p:txBody>
          <a:bodyPr/>
          <a:lstStyle/>
          <a:p>
            <a:r>
              <a:rPr lang="en-US" dirty="0"/>
              <a:t>7.Executing Test</a:t>
            </a:r>
          </a:p>
        </p:txBody>
      </p:sp>
      <p:sp>
        <p:nvSpPr>
          <p:cNvPr id="5" name="Espace réservé du texte 4">
            <a:extLst>
              <a:ext uri="{FF2B5EF4-FFF2-40B4-BE49-F238E27FC236}">
                <a16:creationId xmlns:a16="http://schemas.microsoft.com/office/drawing/2014/main" id="{54703816-973F-4F9E-9E21-444291470A60}"/>
              </a:ext>
            </a:extLst>
          </p:cNvPr>
          <p:cNvSpPr>
            <a:spLocks noGrp="1"/>
          </p:cNvSpPr>
          <p:nvPr>
            <p:ph type="body" sz="quarter" idx="18"/>
          </p:nvPr>
        </p:nvSpPr>
        <p:spPr>
          <a:xfrm>
            <a:off x="1176141" y="3657822"/>
            <a:ext cx="3745723" cy="435162"/>
          </a:xfrm>
        </p:spPr>
        <p:txBody>
          <a:bodyPr/>
          <a:lstStyle/>
          <a:p>
            <a:r>
              <a:rPr lang="en-US" dirty="0"/>
              <a:t>5. </a:t>
            </a:r>
            <a:r>
              <a:rPr lang="en-US" dirty="0">
                <a:latin typeface="+mj-lt"/>
                <a:ea typeface="+mj-ea"/>
                <a:cs typeface="+mj-cs"/>
              </a:rPr>
              <a:t>C</a:t>
            </a:r>
            <a:r>
              <a:rPr lang="en-US" b="0" i="0" kern="1200" dirty="0">
                <a:effectLst/>
                <a:latin typeface="+mj-lt"/>
                <a:ea typeface="+mj-ea"/>
                <a:cs typeface="+mj-cs"/>
              </a:rPr>
              <a:t>reate a lambda function</a:t>
            </a:r>
            <a:endParaRPr lang="en-US" dirty="0"/>
          </a:p>
        </p:txBody>
      </p:sp>
      <p:sp>
        <p:nvSpPr>
          <p:cNvPr id="6" name="Espace réservé du texte 2">
            <a:extLst>
              <a:ext uri="{FF2B5EF4-FFF2-40B4-BE49-F238E27FC236}">
                <a16:creationId xmlns:a16="http://schemas.microsoft.com/office/drawing/2014/main" id="{85AF8D6F-E011-3A30-7F3E-66AD62F1272A}"/>
              </a:ext>
            </a:extLst>
          </p:cNvPr>
          <p:cNvSpPr txBox="1">
            <a:spLocks/>
          </p:cNvSpPr>
          <p:nvPr/>
        </p:nvSpPr>
        <p:spPr>
          <a:xfrm>
            <a:off x="1158603" y="2203163"/>
            <a:ext cx="3876122" cy="653073"/>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158750" indent="0" algn="l" defTabSz="914400" rtl="0" eaLnBrk="1" latinLnBrk="0" hangingPunct="1">
              <a:lnSpc>
                <a:spcPct val="90000"/>
              </a:lnSpc>
              <a:spcBef>
                <a:spcPts val="0"/>
              </a:spcBef>
              <a:spcAft>
                <a:spcPts val="300"/>
              </a:spcAft>
              <a:buClr>
                <a:schemeClr val="accent1"/>
              </a:buClr>
              <a:buFont typeface="Wingdings" panose="05000000000000000000" pitchFamily="2" charset="2"/>
              <a:buNone/>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2. To Launch an Instance</a:t>
            </a:r>
          </a:p>
        </p:txBody>
      </p:sp>
      <p:sp>
        <p:nvSpPr>
          <p:cNvPr id="7" name="Espace réservé du texte 2">
            <a:extLst>
              <a:ext uri="{FF2B5EF4-FFF2-40B4-BE49-F238E27FC236}">
                <a16:creationId xmlns:a16="http://schemas.microsoft.com/office/drawing/2014/main" id="{411092F6-3D54-8BBE-AEB3-F41C4CC64F47}"/>
              </a:ext>
            </a:extLst>
          </p:cNvPr>
          <p:cNvSpPr txBox="1">
            <a:spLocks/>
          </p:cNvSpPr>
          <p:nvPr/>
        </p:nvSpPr>
        <p:spPr>
          <a:xfrm>
            <a:off x="1199456" y="2717873"/>
            <a:ext cx="3817732" cy="482305"/>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158750" indent="0" algn="l" defTabSz="914400" rtl="0" eaLnBrk="1" latinLnBrk="0" hangingPunct="1">
              <a:lnSpc>
                <a:spcPct val="90000"/>
              </a:lnSpc>
              <a:spcBef>
                <a:spcPts val="0"/>
              </a:spcBef>
              <a:spcAft>
                <a:spcPts val="300"/>
              </a:spcAft>
              <a:buClr>
                <a:schemeClr val="accent1"/>
              </a:buClr>
              <a:buFont typeface="Wingdings" panose="05000000000000000000" pitchFamily="2" charset="2"/>
              <a:buNone/>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3. Creating S3 Bucket</a:t>
            </a:r>
          </a:p>
        </p:txBody>
      </p:sp>
      <p:sp>
        <p:nvSpPr>
          <p:cNvPr id="8" name="Espace réservé du texte 4">
            <a:extLst>
              <a:ext uri="{FF2B5EF4-FFF2-40B4-BE49-F238E27FC236}">
                <a16:creationId xmlns:a16="http://schemas.microsoft.com/office/drawing/2014/main" id="{1566F7EE-0FD1-5A22-7BB2-443BF4105FC9}"/>
              </a:ext>
            </a:extLst>
          </p:cNvPr>
          <p:cNvSpPr txBox="1">
            <a:spLocks/>
          </p:cNvSpPr>
          <p:nvPr/>
        </p:nvSpPr>
        <p:spPr>
          <a:xfrm>
            <a:off x="1176141" y="4146266"/>
            <a:ext cx="3635375" cy="569979"/>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158750" indent="0" algn="l" defTabSz="914400" rtl="0" eaLnBrk="1" latinLnBrk="0" hangingPunct="1">
              <a:lnSpc>
                <a:spcPct val="90000"/>
              </a:lnSpc>
              <a:spcBef>
                <a:spcPts val="0"/>
              </a:spcBef>
              <a:spcAft>
                <a:spcPts val="300"/>
              </a:spcAft>
              <a:buClr>
                <a:schemeClr val="accent1"/>
              </a:buClr>
              <a:buFont typeface="Wingdings" panose="05000000000000000000" pitchFamily="2" charset="2"/>
              <a:buNone/>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6. Developing code in lambda function by using Python 3.9</a:t>
            </a:r>
          </a:p>
        </p:txBody>
      </p:sp>
      <p:sp>
        <p:nvSpPr>
          <p:cNvPr id="9" name="Espace réservé du texte 2">
            <a:extLst>
              <a:ext uri="{FF2B5EF4-FFF2-40B4-BE49-F238E27FC236}">
                <a16:creationId xmlns:a16="http://schemas.microsoft.com/office/drawing/2014/main" id="{8F54EC93-BD7C-F617-D1A7-07C17CDFA2D2}"/>
              </a:ext>
            </a:extLst>
          </p:cNvPr>
          <p:cNvSpPr txBox="1">
            <a:spLocks/>
          </p:cNvSpPr>
          <p:nvPr/>
        </p:nvSpPr>
        <p:spPr>
          <a:xfrm>
            <a:off x="1176141" y="3200178"/>
            <a:ext cx="3715243" cy="42283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158750" indent="0" algn="l" defTabSz="914400" rtl="0" eaLnBrk="1" latinLnBrk="0" hangingPunct="1">
              <a:lnSpc>
                <a:spcPct val="90000"/>
              </a:lnSpc>
              <a:spcBef>
                <a:spcPts val="0"/>
              </a:spcBef>
              <a:spcAft>
                <a:spcPts val="300"/>
              </a:spcAft>
              <a:buClr>
                <a:schemeClr val="accent1"/>
              </a:buClr>
              <a:buFont typeface="Wingdings" panose="05000000000000000000" pitchFamily="2" charset="2"/>
              <a:buNone/>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4. IAM Role creation</a:t>
            </a:r>
          </a:p>
        </p:txBody>
      </p:sp>
      <p:sp>
        <p:nvSpPr>
          <p:cNvPr id="10" name="Espace réservé du texte 3">
            <a:extLst>
              <a:ext uri="{FF2B5EF4-FFF2-40B4-BE49-F238E27FC236}">
                <a16:creationId xmlns:a16="http://schemas.microsoft.com/office/drawing/2014/main" id="{52A45D5A-4F11-1212-F986-FE08413030ED}"/>
              </a:ext>
            </a:extLst>
          </p:cNvPr>
          <p:cNvSpPr txBox="1">
            <a:spLocks/>
          </p:cNvSpPr>
          <p:nvPr/>
        </p:nvSpPr>
        <p:spPr>
          <a:xfrm>
            <a:off x="1241508" y="5301208"/>
            <a:ext cx="3745724" cy="435162"/>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158750" indent="0" algn="l" defTabSz="914400" rtl="0" eaLnBrk="1" latinLnBrk="0" hangingPunct="1">
              <a:lnSpc>
                <a:spcPct val="90000"/>
              </a:lnSpc>
              <a:spcBef>
                <a:spcPts val="0"/>
              </a:spcBef>
              <a:spcAft>
                <a:spcPts val="300"/>
              </a:spcAft>
              <a:buClr>
                <a:schemeClr val="accent1"/>
              </a:buClr>
              <a:buFont typeface="Wingdings" panose="05000000000000000000" pitchFamily="2" charset="2"/>
              <a:buNone/>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8.Result</a:t>
            </a:r>
          </a:p>
        </p:txBody>
      </p:sp>
    </p:spTree>
    <p:extLst>
      <p:ext uri="{BB962C8B-B14F-4D97-AF65-F5344CB8AC3E}">
        <p14:creationId xmlns:p14="http://schemas.microsoft.com/office/powerpoint/2010/main" val="3463503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1FCCB941-9A55-4FD8-A71B-74F653F5E2DF}"/>
              </a:ext>
            </a:extLst>
          </p:cNvPr>
          <p:cNvSpPr>
            <a:spLocks noGrp="1"/>
          </p:cNvSpPr>
          <p:nvPr>
            <p:ph type="subTitle" idx="1"/>
          </p:nvPr>
        </p:nvSpPr>
        <p:spPr>
          <a:xfrm>
            <a:off x="263352" y="1916833"/>
            <a:ext cx="5112568" cy="3240360"/>
          </a:xfrm>
        </p:spPr>
        <p:txBody>
          <a:bodyPr/>
          <a:lstStyle/>
          <a:p>
            <a:r>
              <a:rPr lang="en-IN" b="0" i="0" dirty="0">
                <a:solidFill>
                  <a:srgbClr val="16191F"/>
                </a:solidFill>
                <a:effectLst/>
                <a:latin typeface="Amazon Ember"/>
              </a:rPr>
              <a:t>Amazon Textract makes it easy to quickly and accurately extract data from documents and forms. Amazon Textract automatically detects a document’s layout and the key elements on the page, understands the data relationships in any embedded forms or tables, and extracts everything with its context intact. This means you can instantly use the extracted data in an application or store it in a database without a lot of complicated code in between.</a:t>
            </a:r>
            <a:endParaRPr lang="en-US" dirty="0"/>
          </a:p>
        </p:txBody>
      </p:sp>
    </p:spTree>
    <p:extLst>
      <p:ext uri="{BB962C8B-B14F-4D97-AF65-F5344CB8AC3E}">
        <p14:creationId xmlns:p14="http://schemas.microsoft.com/office/powerpoint/2010/main" val="25183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a:xfrm>
            <a:off x="395999" y="396000"/>
            <a:ext cx="11520000" cy="864000"/>
          </a:xfrm>
        </p:spPr>
        <p:txBody>
          <a:bodyPr anchor="t">
            <a:normAutofit/>
          </a:bodyPr>
          <a:lstStyle/>
          <a:p>
            <a:r>
              <a:rPr lang="en-US" dirty="0"/>
              <a:t>Creating AWS Account</a:t>
            </a:r>
            <a:br>
              <a:rPr lang="en-US" dirty="0"/>
            </a:br>
            <a:endParaRPr lang="en-US" dirty="0"/>
          </a:p>
        </p:txBody>
      </p:sp>
      <p:graphicFrame>
        <p:nvGraphicFramePr>
          <p:cNvPr id="5" name="Espace réservé du texte 2">
            <a:extLst>
              <a:ext uri="{FF2B5EF4-FFF2-40B4-BE49-F238E27FC236}">
                <a16:creationId xmlns:a16="http://schemas.microsoft.com/office/drawing/2014/main" id="{574884A8-5322-099E-29C5-196D20A86E90}"/>
              </a:ext>
            </a:extLst>
          </p:cNvPr>
          <p:cNvGraphicFramePr/>
          <p:nvPr>
            <p:extLst>
              <p:ext uri="{D42A27DB-BD31-4B8C-83A1-F6EECF244321}">
                <p14:modId xmlns:p14="http://schemas.microsoft.com/office/powerpoint/2010/main" val="1463801237"/>
              </p:ext>
            </p:extLst>
          </p:nvPr>
        </p:nvGraphicFramePr>
        <p:xfrm>
          <a:off x="395288" y="1124744"/>
          <a:ext cx="11520487" cy="52570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663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a:xfrm>
            <a:off x="395999" y="396000"/>
            <a:ext cx="11520000" cy="864000"/>
          </a:xfrm>
        </p:spPr>
        <p:txBody>
          <a:bodyPr anchor="t">
            <a:normAutofit/>
          </a:bodyPr>
          <a:lstStyle/>
          <a:p>
            <a:r>
              <a:rPr lang="en-US" dirty="0"/>
              <a:t>To Launch an Instance</a:t>
            </a:r>
            <a:br>
              <a:rPr lang="en-US" dirty="0"/>
            </a:br>
            <a:endParaRPr lang="en-US" dirty="0"/>
          </a:p>
        </p:txBody>
      </p:sp>
      <p:graphicFrame>
        <p:nvGraphicFramePr>
          <p:cNvPr id="5" name="Espace réservé du texte 2">
            <a:extLst>
              <a:ext uri="{FF2B5EF4-FFF2-40B4-BE49-F238E27FC236}">
                <a16:creationId xmlns:a16="http://schemas.microsoft.com/office/drawing/2014/main" id="{574884A8-5322-099E-29C5-196D20A86E90}"/>
              </a:ext>
            </a:extLst>
          </p:cNvPr>
          <p:cNvGraphicFramePr/>
          <p:nvPr>
            <p:extLst>
              <p:ext uri="{D42A27DB-BD31-4B8C-83A1-F6EECF244321}">
                <p14:modId xmlns:p14="http://schemas.microsoft.com/office/powerpoint/2010/main" val="828431729"/>
              </p:ext>
            </p:extLst>
          </p:nvPr>
        </p:nvGraphicFramePr>
        <p:xfrm>
          <a:off x="278846" y="1227172"/>
          <a:ext cx="11520487" cy="42488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34978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a:xfrm>
            <a:off x="395999" y="396000"/>
            <a:ext cx="11520000" cy="864000"/>
          </a:xfrm>
        </p:spPr>
        <p:txBody>
          <a:bodyPr anchor="t">
            <a:normAutofit/>
          </a:bodyPr>
          <a:lstStyle/>
          <a:p>
            <a:r>
              <a:rPr lang="en-US" dirty="0"/>
              <a:t>Creating S3 Bucket</a:t>
            </a:r>
            <a:br>
              <a:rPr lang="en-US" dirty="0"/>
            </a:br>
            <a:endParaRPr lang="en-US" dirty="0"/>
          </a:p>
        </p:txBody>
      </p:sp>
      <p:graphicFrame>
        <p:nvGraphicFramePr>
          <p:cNvPr id="5" name="Espace réservé du texte 2">
            <a:extLst>
              <a:ext uri="{FF2B5EF4-FFF2-40B4-BE49-F238E27FC236}">
                <a16:creationId xmlns:a16="http://schemas.microsoft.com/office/drawing/2014/main" id="{574884A8-5322-099E-29C5-196D20A86E90}"/>
              </a:ext>
            </a:extLst>
          </p:cNvPr>
          <p:cNvGraphicFramePr/>
          <p:nvPr>
            <p:extLst>
              <p:ext uri="{D42A27DB-BD31-4B8C-83A1-F6EECF244321}">
                <p14:modId xmlns:p14="http://schemas.microsoft.com/office/powerpoint/2010/main" val="325585236"/>
              </p:ext>
            </p:extLst>
          </p:nvPr>
        </p:nvGraphicFramePr>
        <p:xfrm>
          <a:off x="395775" y="1052736"/>
          <a:ext cx="11520000" cy="432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76137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F64BD2-7E09-45E2-95C0-B3726BD6234A}"/>
              </a:ext>
            </a:extLst>
          </p:cNvPr>
          <p:cNvSpPr>
            <a:spLocks noGrp="1"/>
          </p:cNvSpPr>
          <p:nvPr>
            <p:ph type="title"/>
          </p:nvPr>
        </p:nvSpPr>
        <p:spPr>
          <a:xfrm>
            <a:off x="395999" y="396000"/>
            <a:ext cx="11520000" cy="864000"/>
          </a:xfrm>
        </p:spPr>
        <p:txBody>
          <a:bodyPr anchor="t">
            <a:normAutofit fontScale="90000"/>
          </a:bodyPr>
          <a:lstStyle/>
          <a:p>
            <a:r>
              <a:rPr lang="en-US" dirty="0"/>
              <a:t>IAM role creation</a:t>
            </a:r>
            <a:br>
              <a:rPr lang="en-US" dirty="0"/>
            </a:br>
            <a:br>
              <a:rPr lang="en-US" dirty="0"/>
            </a:br>
            <a:endParaRPr lang="en-US" dirty="0"/>
          </a:p>
        </p:txBody>
      </p:sp>
      <p:graphicFrame>
        <p:nvGraphicFramePr>
          <p:cNvPr id="5" name="Espace réservé du texte 2">
            <a:extLst>
              <a:ext uri="{FF2B5EF4-FFF2-40B4-BE49-F238E27FC236}">
                <a16:creationId xmlns:a16="http://schemas.microsoft.com/office/drawing/2014/main" id="{574884A8-5322-099E-29C5-196D20A86E90}"/>
              </a:ext>
            </a:extLst>
          </p:cNvPr>
          <p:cNvGraphicFramePr/>
          <p:nvPr>
            <p:extLst>
              <p:ext uri="{D42A27DB-BD31-4B8C-83A1-F6EECF244321}">
                <p14:modId xmlns:p14="http://schemas.microsoft.com/office/powerpoint/2010/main" val="206503470"/>
              </p:ext>
            </p:extLst>
          </p:nvPr>
        </p:nvGraphicFramePr>
        <p:xfrm>
          <a:off x="278846" y="1227172"/>
          <a:ext cx="11520487" cy="42488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752558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7A60A-5308-08DC-8E57-9C750FAF04AD}"/>
              </a:ext>
            </a:extLst>
          </p:cNvPr>
          <p:cNvSpPr>
            <a:spLocks noGrp="1"/>
          </p:cNvSpPr>
          <p:nvPr>
            <p:ph type="title"/>
          </p:nvPr>
        </p:nvSpPr>
        <p:spPr>
          <a:xfrm>
            <a:off x="395999" y="396000"/>
            <a:ext cx="11520000" cy="864000"/>
          </a:xfrm>
        </p:spPr>
        <p:txBody>
          <a:bodyPr vert="horz" lIns="0" tIns="0" rIns="0" bIns="0" rtlCol="0" anchor="t">
            <a:normAutofit/>
          </a:bodyPr>
          <a:lstStyle/>
          <a:p>
            <a:r>
              <a:rPr lang="en-US" b="0" i="0" kern="1200" dirty="0">
                <a:effectLst/>
                <a:latin typeface="+mj-lt"/>
                <a:ea typeface="+mj-ea"/>
                <a:cs typeface="+mj-cs"/>
              </a:rPr>
              <a:t> Create a lambda function</a:t>
            </a:r>
            <a:endParaRPr lang="en-US" kern="1200" dirty="0">
              <a:latin typeface="+mj-lt"/>
              <a:ea typeface="+mj-ea"/>
              <a:cs typeface="+mj-cs"/>
            </a:endParaRPr>
          </a:p>
        </p:txBody>
      </p:sp>
      <p:graphicFrame>
        <p:nvGraphicFramePr>
          <p:cNvPr id="15" name="TextBox 5">
            <a:extLst>
              <a:ext uri="{FF2B5EF4-FFF2-40B4-BE49-F238E27FC236}">
                <a16:creationId xmlns:a16="http://schemas.microsoft.com/office/drawing/2014/main" id="{A51A4298-5417-E617-4C46-92A81128DEC5}"/>
              </a:ext>
            </a:extLst>
          </p:cNvPr>
          <p:cNvGraphicFramePr/>
          <p:nvPr>
            <p:extLst>
              <p:ext uri="{D42A27DB-BD31-4B8C-83A1-F6EECF244321}">
                <p14:modId xmlns:p14="http://schemas.microsoft.com/office/powerpoint/2010/main" val="4130696845"/>
              </p:ext>
            </p:extLst>
          </p:nvPr>
        </p:nvGraphicFramePr>
        <p:xfrm>
          <a:off x="395775" y="1260000"/>
          <a:ext cx="11520000" cy="5121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3151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F5F6ADEF-7253-4895-A17B-8F21273B61E5}"/>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AC71A3FD-7506-4034-8A15-9C633F24C2D9}"/>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8B3078F0-20F3-403D-94D3-AF08874090C8}"/>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60DC60DA-DEC1-4579-B08D-491E47015373}"/>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ity xmlns="f1122fed-4606-4ec8-90ef-13536176a38c">Sogeti</Entity>
    <Classification xmlns="f1122fed-4606-4ec8-90ef-13536176a38c">Company Confidential (Sec 1)</Classification>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3CC7EE-68F2-44AD-A7BC-31A37DEBC76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http://schemas.microsoft.com/office/2006/metadata/properties"/>
    <ds:schemaRef ds:uri="6ecf9e71-4c70-4ac2-993b-8f8d516e54d5"/>
    <ds:schemaRef ds:uri="http://www.w3.org/XML/1998/namespace"/>
    <ds:schemaRef ds:uri="http://purl.org/dc/dcmitype/"/>
    <ds:schemaRef ds:uri="f1122fed-4606-4ec8-90ef-13536176a38c"/>
  </ds:schemaRefs>
</ds:datastoreItem>
</file>

<file path=customXml/itemProps2.xml><?xml version="1.0" encoding="utf-8"?>
<ds:datastoreItem xmlns:ds="http://schemas.openxmlformats.org/officeDocument/2006/customXml" ds:itemID="{8D805D11-91E0-499C-A73A-CA21676CF8F7}">
  <ds:schemaRefs>
    <ds:schemaRef ds:uri="http://schemas.microsoft.com/sharepoint/v3/contenttype/forms"/>
  </ds:schemaRefs>
</ds:datastoreItem>
</file>

<file path=customXml/itemProps3.xml><?xml version="1.0" encoding="utf-8"?>
<ds:datastoreItem xmlns:ds="http://schemas.openxmlformats.org/officeDocument/2006/customXml" ds:itemID="{68BFE775-CF35-4AB5-8428-A93017C3F7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 Sogeti</Template>
  <TotalTime>562</TotalTime>
  <Words>460</Words>
  <Application>Microsoft Office PowerPoint</Application>
  <PresentationFormat>Widescreen</PresentationFormat>
  <Paragraphs>56</Paragraphs>
  <Slides>11</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2" baseType="lpstr">
      <vt:lpstr>Amazon Ember</vt:lpstr>
      <vt:lpstr>Arial</vt:lpstr>
      <vt:lpstr>Arial</vt:lpstr>
      <vt:lpstr>Calibri</vt:lpstr>
      <vt:lpstr>Verdana</vt:lpstr>
      <vt:lpstr>Wingdings</vt:lpstr>
      <vt:lpstr>Sogeti Master</vt:lpstr>
      <vt:lpstr>Cover options</vt:lpstr>
      <vt:lpstr>Section Opener options</vt:lpstr>
      <vt:lpstr>Closing options</vt:lpstr>
      <vt:lpstr>think-cell Slide</vt:lpstr>
      <vt:lpstr>Hackathon Solution Creation</vt:lpstr>
      <vt:lpstr>Problem: Extraction of text from PDF </vt:lpstr>
      <vt:lpstr>Agenda</vt:lpstr>
      <vt:lpstr>PowerPoint Presentation</vt:lpstr>
      <vt:lpstr>Creating AWS Account </vt:lpstr>
      <vt:lpstr>To Launch an Instance </vt:lpstr>
      <vt:lpstr>Creating S3 Bucket </vt:lpstr>
      <vt:lpstr>IAM role creation  </vt:lpstr>
      <vt:lpstr> Create a lambda function</vt:lpstr>
      <vt:lpstr>Integrating with MongoDB</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pati, Padmaja</dc:creator>
  <cp:lastModifiedBy>BESTHA, SRIHARI</cp:lastModifiedBy>
  <cp:revision>2</cp:revision>
  <dcterms:created xsi:type="dcterms:W3CDTF">2022-01-31T12:17:52Z</dcterms:created>
  <dcterms:modified xsi:type="dcterms:W3CDTF">2024-08-26T06:5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